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9"/>
  </p:notesMasterIdLst>
  <p:handoutMasterIdLst>
    <p:handoutMasterId r:id="rId10"/>
  </p:handoutMasterIdLst>
  <p:sldIdLst>
    <p:sldId id="604" r:id="rId5"/>
    <p:sldId id="691" r:id="rId6"/>
    <p:sldId id="1040" r:id="rId7"/>
    <p:sldId id="1128" r:id="rId8"/>
  </p:sldIdLst>
  <p:sldSz cx="12192000" cy="6858000"/>
  <p:notesSz cx="6858000" cy="120015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16" userDrawn="1">
          <p15:clr>
            <a:srgbClr val="A4A3A4"/>
          </p15:clr>
        </p15:guide>
        <p15:guide id="2" pos="1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Qianmeng Li" initials="QL" lastIdx="1" clrIdx="0">
    <p:extLst>
      <p:ext uri="{19B8F6BF-5375-455C-9EA6-DF929625EA0E}">
        <p15:presenceInfo xmlns:p15="http://schemas.microsoft.com/office/powerpoint/2012/main" userId="S-1-5-21-2808680614-1317938522-479626105-4161" providerId="AD"/>
      </p:ext>
    </p:extLst>
  </p:cmAuthor>
  <p:cmAuthor id="2" name="Benjamin Huff (DCP)" initials="B(" lastIdx="3" clrIdx="1">
    <p:extLst>
      <p:ext uri="{19B8F6BF-5375-455C-9EA6-DF929625EA0E}">
        <p15:presenceInfo xmlns:p15="http://schemas.microsoft.com/office/powerpoint/2012/main" userId="S::bhuff@planning.nyc.gov::965629d4-8c2e-4839-93aa-5736632cfbf4" providerId="AD"/>
      </p:ext>
    </p:extLst>
  </p:cmAuthor>
  <p:cmAuthor id="3" name="Karen Johnson (DCP)" initials="K(" lastIdx="198" clrIdx="2">
    <p:extLst>
      <p:ext uri="{19B8F6BF-5375-455C-9EA6-DF929625EA0E}">
        <p15:presenceInfo xmlns:p15="http://schemas.microsoft.com/office/powerpoint/2012/main" userId="S::kjohnso@planning.nyc.gov::59d8b9e9-158f-4bb4-b8ef-89810af2f353" providerId="AD"/>
      </p:ext>
    </p:extLst>
  </p:cmAuthor>
  <p:cmAuthor id="4" name="Laura Smith (DCP)" initials="LS(" lastIdx="16" clrIdx="3">
    <p:extLst>
      <p:ext uri="{19B8F6BF-5375-455C-9EA6-DF929625EA0E}">
        <p15:presenceInfo xmlns:p15="http://schemas.microsoft.com/office/powerpoint/2012/main" userId="Laura Smith (DCP)" providerId="None"/>
      </p:ext>
    </p:extLst>
  </p:cmAuthor>
  <p:cmAuthor id="5" name="Le Zhang (DCP)" initials="L(" lastIdx="12" clrIdx="4">
    <p:extLst>
      <p:ext uri="{19B8F6BF-5375-455C-9EA6-DF929625EA0E}">
        <p15:presenceInfo xmlns:p15="http://schemas.microsoft.com/office/powerpoint/2012/main" userId="S::lzhang@planning.nyc.gov::4093b8df-c45f-452e-86ba-4cdd8d4ea262" providerId="AD"/>
      </p:ext>
    </p:extLst>
  </p:cmAuthor>
  <p:cmAuthor id="6" name="Conor Clarke (DCP)" initials="C(" lastIdx="25" clrIdx="5">
    <p:extLst>
      <p:ext uri="{19B8F6BF-5375-455C-9EA6-DF929625EA0E}">
        <p15:presenceInfo xmlns:p15="http://schemas.microsoft.com/office/powerpoint/2012/main" userId="S::cclarke@planning.nyc.gov::821f5e7e-11e6-4f72-8e49-84592080ebf7" providerId="AD"/>
      </p:ext>
    </p:extLst>
  </p:cmAuthor>
  <p:cmAuthor id="7" name="Ruoran Lin (DCP)" initials="RL(" lastIdx="2" clrIdx="6">
    <p:extLst>
      <p:ext uri="{19B8F6BF-5375-455C-9EA6-DF929625EA0E}">
        <p15:presenceInfo xmlns:p15="http://schemas.microsoft.com/office/powerpoint/2012/main" userId="S::rlin@planning.nyc.gov::5ba63a2c-b5bc-4f17-a87a-a3a824a8af35" providerId="AD"/>
      </p:ext>
    </p:extLst>
  </p:cmAuthor>
  <p:cmAuthor id="8" name="Le" initials="W" lastIdx="11" clrIdx="7">
    <p:extLst>
      <p:ext uri="{19B8F6BF-5375-455C-9EA6-DF929625EA0E}">
        <p15:presenceInfo xmlns:p15="http://schemas.microsoft.com/office/powerpoint/2012/main" userId="Le" providerId="None"/>
      </p:ext>
    </p:extLst>
  </p:cmAuthor>
  <p:cmAuthor id="9" name="Abraham Abreu (DCP)" initials="A(" lastIdx="1" clrIdx="8">
    <p:extLst>
      <p:ext uri="{19B8F6BF-5375-455C-9EA6-DF929625EA0E}">
        <p15:presenceInfo xmlns:p15="http://schemas.microsoft.com/office/powerpoint/2012/main" userId="S::aabreu@planning.nyc.gov::ade48484-6e32-4902-80a5-797403fc286d" providerId="AD"/>
      </p:ext>
    </p:extLst>
  </p:cmAuthor>
  <p:cmAuthor id="10" name="Laura Smith (DCP)" initials="L(" lastIdx="1" clrIdx="9">
    <p:extLst>
      <p:ext uri="{19B8F6BF-5375-455C-9EA6-DF929625EA0E}">
        <p15:presenceInfo xmlns:p15="http://schemas.microsoft.com/office/powerpoint/2012/main" userId="S::lsmith@planning.nyc.gov::04d996ad-c8c0-4279-84c0-115ebcf63bba" providerId="AD"/>
      </p:ext>
    </p:extLst>
  </p:cmAuthor>
  <p:cmAuthor id="11" name="Angela Bellisio (DCP)" initials="AB(" lastIdx="5" clrIdx="10">
    <p:extLst>
      <p:ext uri="{19B8F6BF-5375-455C-9EA6-DF929625EA0E}">
        <p15:presenceInfo xmlns:p15="http://schemas.microsoft.com/office/powerpoint/2012/main" userId="S::abellisio@planning.nyc.gov::191d6709-c92d-4cc4-bbcb-8a110756faa6" providerId="AD"/>
      </p:ext>
    </p:extLst>
  </p:cmAuthor>
  <p:cmAuthor id="12" name="Doug Rose" initials="DR" lastIdx="4" clrIdx="11">
    <p:extLst>
      <p:ext uri="{19B8F6BF-5375-455C-9EA6-DF929625EA0E}">
        <p15:presenceInfo xmlns:p15="http://schemas.microsoft.com/office/powerpoint/2012/main" userId="S::drose@edc.nyc::e1779852-7798-4900-8ecb-36efe6efc17b" providerId="AD"/>
      </p:ext>
    </p:extLst>
  </p:cmAuthor>
  <p:cmAuthor id="13" name="Stratos Prassas (DCP)" initials="S(" lastIdx="2" clrIdx="12">
    <p:extLst>
      <p:ext uri="{19B8F6BF-5375-455C-9EA6-DF929625EA0E}">
        <p15:presenceInfo xmlns:p15="http://schemas.microsoft.com/office/powerpoint/2012/main" userId="S::sprassa@planning.nyc.gov::57cdbfbc-99eb-47a3-a373-6294a22df065" providerId="AD"/>
      </p:ext>
    </p:extLst>
  </p:cmAuthor>
  <p:cmAuthor id="14" name="Lise Dorestant (DCP)" initials="L(" lastIdx="4" clrIdx="13">
    <p:extLst>
      <p:ext uri="{19B8F6BF-5375-455C-9EA6-DF929625EA0E}">
        <p15:presenceInfo xmlns:p15="http://schemas.microsoft.com/office/powerpoint/2012/main" userId="S::ldorest@planning.nyc.gov::639a16cc-72b9-4475-9525-1b5229ade100" providerId="AD"/>
      </p:ext>
    </p:extLst>
  </p:cmAuthor>
  <p:cmAuthor id="15" name="Stephane Pierre (DCP)" initials="SP(" lastIdx="4" clrIdx="14">
    <p:extLst>
      <p:ext uri="{19B8F6BF-5375-455C-9EA6-DF929625EA0E}">
        <p15:presenceInfo xmlns:p15="http://schemas.microsoft.com/office/powerpoint/2012/main" userId="S::spierre30@planning.nyc.gov::dc8579c3-b9ad-4a00-a438-b4c77f165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691A"/>
    <a:srgbClr val="13527B"/>
    <a:srgbClr val="00B0F0"/>
    <a:srgbClr val="FECEFF"/>
    <a:srgbClr val="DB691B"/>
    <a:srgbClr val="7DC1EA"/>
    <a:srgbClr val="FFC000"/>
    <a:srgbClr val="CAF2FF"/>
    <a:srgbClr val="C9F0FF"/>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A21BD8-C190-405C-BB8C-D3D6827C777B}" v="25" dt="2020-08-11T20:42:55.032"/>
    <p1510:client id="{1596AC32-09DB-55A4-0DD2-E81DF00072E5}" v="4" dt="2020-08-11T19:01:39.683"/>
    <p1510:client id="{1F71B13E-95C9-69EA-215F-89C5CD47C70A}" v="4" dt="2020-08-11T21:39:59.620"/>
    <p1510:client id="{44027C8D-A682-23DD-5EEC-63A23B3489B7}" v="4" dt="2020-08-11T15:52:52.766"/>
    <p1510:client id="{5AB76190-8E0E-68BC-77CF-B2A8F6AC9222}" v="8" dt="2020-08-13T15:45:43.422"/>
    <p1510:client id="{83F99AAF-FBF4-4BEC-9F6A-614456346144}" v="510" vWet="511" dt="2020-08-11T20:26:14.282"/>
    <p1510:client id="{9E7D1F3A-909D-0D40-9578-7A2986233B76}" v="217" vWet="218" dt="2020-08-11T20:25:43.132"/>
    <p1510:client id="{D6D3AAA0-22ED-4CC4-A1DA-8F7BAAC0D624}" v="243" dt="2020-08-11T20:31:41.596"/>
    <p1510:client id="{D845F3BD-F151-4A95-BEE2-F49DB741D04E}" v="3797" dt="2020-08-11T23:00:54.923"/>
    <p1510:client id="{EC276C4E-EFB5-7941-9A78-4056BD22D3D9}" v="675" vWet="676" dt="2020-08-11T20:25:55.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guide orient="horz" pos="816"/>
        <p:guide pos="19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5CE0274A-028E-37C6-BD0C-3A1C3C0B1ACB}"/>
    <pc:docChg chg="modSld">
      <pc:chgData name="" userId="" providerId="" clId="Web-{5CE0274A-028E-37C6-BD0C-3A1C3C0B1ACB}" dt="2020-07-27T18:03:50.999" v="8" actId="1076"/>
      <pc:docMkLst>
        <pc:docMk/>
      </pc:docMkLst>
      <pc:sldChg chg="addSp delSp modSp">
        <pc:chgData name="" userId="" providerId="" clId="Web-{5CE0274A-028E-37C6-BD0C-3A1C3C0B1ACB}" dt="2020-07-27T18:03:50.999" v="8" actId="1076"/>
        <pc:sldMkLst>
          <pc:docMk/>
          <pc:sldMk cId="3338364421" sldId="1128"/>
        </pc:sldMkLst>
        <pc:picChg chg="add del mod">
          <ac:chgData name="" userId="" providerId="" clId="Web-{5CE0274A-028E-37C6-BD0C-3A1C3C0B1ACB}" dt="2020-07-27T18:03:19.262" v="2"/>
          <ac:picMkLst>
            <pc:docMk/>
            <pc:sldMk cId="3338364421" sldId="1128"/>
            <ac:picMk id="5" creationId="{64DE1616-E919-4413-8EB2-4B4124AAE55A}"/>
          </ac:picMkLst>
        </pc:picChg>
        <pc:picChg chg="add mod ord">
          <ac:chgData name="" userId="" providerId="" clId="Web-{5CE0274A-028E-37C6-BD0C-3A1C3C0B1ACB}" dt="2020-07-27T18:03:50.999" v="8" actId="1076"/>
          <ac:picMkLst>
            <pc:docMk/>
            <pc:sldMk cId="3338364421" sldId="1128"/>
            <ac:picMk id="6" creationId="{1CCEDF6C-263D-4381-86E7-FFD7A9D193FD}"/>
          </ac:picMkLst>
        </pc:picChg>
        <pc:picChg chg="del">
          <ac:chgData name="" userId="" providerId="" clId="Web-{5CE0274A-028E-37C6-BD0C-3A1C3C0B1ACB}" dt="2020-07-27T18:03:47.218" v="7"/>
          <ac:picMkLst>
            <pc:docMk/>
            <pc:sldMk cId="3338364421" sldId="1128"/>
            <ac:picMk id="9" creationId="{6D55A32E-91B6-49B5-9E09-6BE836257BFD}"/>
          </ac:picMkLst>
        </pc:picChg>
      </pc:sldChg>
    </pc:docChg>
  </pc:docChgLst>
  <pc:docChgLst>
    <pc:chgData clId="Web-{C3FCE719-B701-D938-A261-363E06FBF523}"/>
    <pc:docChg chg="modSld">
      <pc:chgData name="" userId="" providerId="" clId="Web-{C3FCE719-B701-D938-A261-363E06FBF523}" dt="2020-08-03T13:50:55.004" v="23" actId="20577"/>
      <pc:docMkLst>
        <pc:docMk/>
      </pc:docMkLst>
      <pc:sldChg chg="modSp">
        <pc:chgData name="" userId="" providerId="" clId="Web-{C3FCE719-B701-D938-A261-363E06FBF523}" dt="2020-08-03T13:50:55.004" v="22" actId="20577"/>
        <pc:sldMkLst>
          <pc:docMk/>
          <pc:sldMk cId="866642221" sldId="604"/>
        </pc:sldMkLst>
        <pc:spChg chg="mod">
          <ac:chgData name="" userId="" providerId="" clId="Web-{C3FCE719-B701-D938-A261-363E06FBF523}" dt="2020-08-03T13:50:55.004" v="22" actId="20577"/>
          <ac:spMkLst>
            <pc:docMk/>
            <pc:sldMk cId="866642221" sldId="604"/>
            <ac:spMk id="4" creationId="{00000000-0000-0000-0000-000000000000}"/>
          </ac:spMkLst>
        </pc:spChg>
      </pc:sldChg>
    </pc:docChg>
  </pc:docChgLst>
  <pc:docChgLst>
    <pc:chgData name="Stephane Pierre (DCP)" userId="dc8579c3-b9ad-4a00-a438-b4c77f165554" providerId="ADAL" clId="{F71CA9AF-D171-734A-973E-370166779A5B}"/>
    <pc:docChg chg="undo custSel modSld">
      <pc:chgData name="Stephane Pierre (DCP)" userId="dc8579c3-b9ad-4a00-a438-b4c77f165554" providerId="ADAL" clId="{F71CA9AF-D171-734A-973E-370166779A5B}" dt="2020-07-28T21:38:41.229" v="432" actId="20577"/>
      <pc:docMkLst>
        <pc:docMk/>
      </pc:docMkLst>
      <pc:sldChg chg="addSp delSp modSp mod">
        <pc:chgData name="Stephane Pierre (DCP)" userId="dc8579c3-b9ad-4a00-a438-b4c77f165554" providerId="ADAL" clId="{F71CA9AF-D171-734A-973E-370166779A5B}" dt="2020-07-28T21:38:41.229" v="432" actId="20577"/>
        <pc:sldMkLst>
          <pc:docMk/>
          <pc:sldMk cId="1519931681" sldId="923"/>
        </pc:sldMkLst>
        <pc:spChg chg="mod">
          <ac:chgData name="Stephane Pierre (DCP)" userId="dc8579c3-b9ad-4a00-a438-b4c77f165554" providerId="ADAL" clId="{F71CA9AF-D171-734A-973E-370166779A5B}" dt="2020-07-28T15:37:10.822" v="68" actId="1076"/>
          <ac:spMkLst>
            <pc:docMk/>
            <pc:sldMk cId="1519931681" sldId="923"/>
            <ac:spMk id="3" creationId="{1EAE4D21-EE8B-B54C-98EF-002EA66A340A}"/>
          </ac:spMkLst>
        </pc:spChg>
        <pc:spChg chg="mod">
          <ac:chgData name="Stephane Pierre (DCP)" userId="dc8579c3-b9ad-4a00-a438-b4c77f165554" providerId="ADAL" clId="{F71CA9AF-D171-734A-973E-370166779A5B}" dt="2020-07-28T15:37:48.020" v="74" actId="1076"/>
          <ac:spMkLst>
            <pc:docMk/>
            <pc:sldMk cId="1519931681" sldId="923"/>
            <ac:spMk id="13" creationId="{174F846C-5F73-894A-A1AF-0A935B8139E2}"/>
          </ac:spMkLst>
        </pc:spChg>
        <pc:spChg chg="mod">
          <ac:chgData name="Stephane Pierre (DCP)" userId="dc8579c3-b9ad-4a00-a438-b4c77f165554" providerId="ADAL" clId="{F71CA9AF-D171-734A-973E-370166779A5B}" dt="2020-07-28T15:37:56.693" v="76" actId="1076"/>
          <ac:spMkLst>
            <pc:docMk/>
            <pc:sldMk cId="1519931681" sldId="923"/>
            <ac:spMk id="14" creationId="{149DA6FF-5364-1E48-893B-A163FFAF975B}"/>
          </ac:spMkLst>
        </pc:spChg>
        <pc:spChg chg="mod">
          <ac:chgData name="Stephane Pierre (DCP)" userId="dc8579c3-b9ad-4a00-a438-b4c77f165554" providerId="ADAL" clId="{F71CA9AF-D171-734A-973E-370166779A5B}" dt="2020-07-28T15:37:38.630" v="73" actId="1076"/>
          <ac:spMkLst>
            <pc:docMk/>
            <pc:sldMk cId="1519931681" sldId="923"/>
            <ac:spMk id="15" creationId="{981C1DE0-82FF-AB4F-B94E-89088541BAE7}"/>
          </ac:spMkLst>
        </pc:spChg>
        <pc:spChg chg="mod">
          <ac:chgData name="Stephane Pierre (DCP)" userId="dc8579c3-b9ad-4a00-a438-b4c77f165554" providerId="ADAL" clId="{F71CA9AF-D171-734A-973E-370166779A5B}" dt="2020-07-28T18:04:25.290" v="396" actId="1076"/>
          <ac:spMkLst>
            <pc:docMk/>
            <pc:sldMk cId="1519931681" sldId="923"/>
            <ac:spMk id="18" creationId="{1E40A596-6E2F-405C-B286-AD1FEE9683E7}"/>
          </ac:spMkLst>
        </pc:spChg>
        <pc:spChg chg="mod">
          <ac:chgData name="Stephane Pierre (DCP)" userId="dc8579c3-b9ad-4a00-a438-b4c77f165554" providerId="ADAL" clId="{F71CA9AF-D171-734A-973E-370166779A5B}" dt="2020-07-28T21:38:41.229" v="432" actId="20577"/>
          <ac:spMkLst>
            <pc:docMk/>
            <pc:sldMk cId="1519931681" sldId="923"/>
            <ac:spMk id="25" creationId="{13B87C1F-74FA-7648-A5E7-2CB01BB275C1}"/>
          </ac:spMkLst>
        </pc:spChg>
        <pc:graphicFrameChg chg="add del mod">
          <ac:chgData name="Stephane Pierre (DCP)" userId="dc8579c3-b9ad-4a00-a438-b4c77f165554" providerId="ADAL" clId="{F71CA9AF-D171-734A-973E-370166779A5B}" dt="2020-07-28T17:47:26.900" v="129"/>
          <ac:graphicFrameMkLst>
            <pc:docMk/>
            <pc:sldMk cId="1519931681" sldId="923"/>
            <ac:graphicFrameMk id="5" creationId="{C3766F54-1E8D-174E-8D5A-92E0D1B9581F}"/>
          </ac:graphicFrameMkLst>
        </pc:graphicFrameChg>
        <pc:graphicFrameChg chg="del mod">
          <ac:chgData name="Stephane Pierre (DCP)" userId="dc8579c3-b9ad-4a00-a438-b4c77f165554" providerId="ADAL" clId="{F71CA9AF-D171-734A-973E-370166779A5B}" dt="2020-07-27T18:41:37.140" v="10" actId="478"/>
          <ac:graphicFrameMkLst>
            <pc:docMk/>
            <pc:sldMk cId="1519931681" sldId="923"/>
            <ac:graphicFrameMk id="16" creationId="{A02ADCAF-7863-324A-9F02-208B1F40E7D2}"/>
          </ac:graphicFrameMkLst>
        </pc:graphicFrameChg>
        <pc:graphicFrameChg chg="del mod">
          <ac:chgData name="Stephane Pierre (DCP)" userId="dc8579c3-b9ad-4a00-a438-b4c77f165554" providerId="ADAL" clId="{F71CA9AF-D171-734A-973E-370166779A5B}" dt="2020-07-28T14:44:05.573" v="34" actId="478"/>
          <ac:graphicFrameMkLst>
            <pc:docMk/>
            <pc:sldMk cId="1519931681" sldId="923"/>
            <ac:graphicFrameMk id="17" creationId="{1CC46FE6-FAD9-9342-A3CD-D968E9257405}"/>
          </ac:graphicFrameMkLst>
        </pc:graphicFrameChg>
        <pc:graphicFrameChg chg="del mod">
          <ac:chgData name="Stephane Pierre (DCP)" userId="dc8579c3-b9ad-4a00-a438-b4c77f165554" providerId="ADAL" clId="{F71CA9AF-D171-734A-973E-370166779A5B}" dt="2020-07-28T15:35:50.420" v="55" actId="478"/>
          <ac:graphicFrameMkLst>
            <pc:docMk/>
            <pc:sldMk cId="1519931681" sldId="923"/>
            <ac:graphicFrameMk id="19" creationId="{E35A8EDB-62EC-E941-AA5F-B4F65D9C755C}"/>
          </ac:graphicFrameMkLst>
        </pc:graphicFrameChg>
        <pc:graphicFrameChg chg="add mod">
          <ac:chgData name="Stephane Pierre (DCP)" userId="dc8579c3-b9ad-4a00-a438-b4c77f165554" providerId="ADAL" clId="{F71CA9AF-D171-734A-973E-370166779A5B}" dt="2020-07-28T18:01:58.088" v="381"/>
          <ac:graphicFrameMkLst>
            <pc:docMk/>
            <pc:sldMk cId="1519931681" sldId="923"/>
            <ac:graphicFrameMk id="20" creationId="{A02ADCAF-7863-324A-9F02-208B1F40E7D2}"/>
          </ac:graphicFrameMkLst>
        </pc:graphicFrameChg>
        <pc:graphicFrameChg chg="add mod">
          <ac:chgData name="Stephane Pierre (DCP)" userId="dc8579c3-b9ad-4a00-a438-b4c77f165554" providerId="ADAL" clId="{F71CA9AF-D171-734A-973E-370166779A5B}" dt="2020-07-28T21:33:12.211" v="411" actId="167"/>
          <ac:graphicFrameMkLst>
            <pc:docMk/>
            <pc:sldMk cId="1519931681" sldId="923"/>
            <ac:graphicFrameMk id="21" creationId="{1CC46FE6-FAD9-9342-A3CD-D968E9257405}"/>
          </ac:graphicFrameMkLst>
        </pc:graphicFrameChg>
        <pc:graphicFrameChg chg="add mod">
          <ac:chgData name="Stephane Pierre (DCP)" userId="dc8579c3-b9ad-4a00-a438-b4c77f165554" providerId="ADAL" clId="{F71CA9AF-D171-734A-973E-370166779A5B}" dt="2020-07-28T15:37:16.890" v="69"/>
          <ac:graphicFrameMkLst>
            <pc:docMk/>
            <pc:sldMk cId="1519931681" sldId="923"/>
            <ac:graphicFrameMk id="22" creationId="{8388A7B2-FE1D-6B45-9086-AED40B374298}"/>
          </ac:graphicFrameMkLst>
        </pc:graphicFrameChg>
        <pc:cxnChg chg="add mod">
          <ac:chgData name="Stephane Pierre (DCP)" userId="dc8579c3-b9ad-4a00-a438-b4c77f165554" providerId="ADAL" clId="{F71CA9AF-D171-734A-973E-370166779A5B}" dt="2020-07-28T21:33:44.343" v="413" actId="167"/>
          <ac:cxnSpMkLst>
            <pc:docMk/>
            <pc:sldMk cId="1519931681" sldId="923"/>
            <ac:cxnSpMk id="16" creationId="{D09CC458-DFA6-FC47-855B-DF85E4EE94AA}"/>
          </ac:cxnSpMkLst>
        </pc:cxnChg>
      </pc:sldChg>
    </pc:docChg>
  </pc:docChgLst>
  <pc:docChgLst>
    <pc:chgData name="Ruoran Lin (DCP)" userId="5ba63a2c-b5bc-4f17-a87a-a3a824a8af35" providerId="ADAL" clId="{E168D072-D8E7-0249-B5B3-631062399872}"/>
    <pc:docChg chg="undo custSel addSld delSld modSld">
      <pc:chgData name="Ruoran Lin (DCP)" userId="5ba63a2c-b5bc-4f17-a87a-a3a824a8af35" providerId="ADAL" clId="{E168D072-D8E7-0249-B5B3-631062399872}" dt="2020-07-07T22:58:22.352" v="136" actId="1037"/>
      <pc:docMkLst>
        <pc:docMk/>
      </pc:docMkLst>
      <pc:sldChg chg="modSp">
        <pc:chgData name="Ruoran Lin (DCP)" userId="5ba63a2c-b5bc-4f17-a87a-a3a824a8af35" providerId="ADAL" clId="{E168D072-D8E7-0249-B5B3-631062399872}" dt="2020-07-07T19:55:02.124" v="31" actId="207"/>
        <pc:sldMkLst>
          <pc:docMk/>
          <pc:sldMk cId="1155418492" sldId="1026"/>
        </pc:sldMkLst>
        <pc:spChg chg="mod">
          <ac:chgData name="Ruoran Lin (DCP)" userId="5ba63a2c-b5bc-4f17-a87a-a3a824a8af35" providerId="ADAL" clId="{E168D072-D8E7-0249-B5B3-631062399872}" dt="2020-07-07T19:55:02.124" v="31" actId="207"/>
          <ac:spMkLst>
            <pc:docMk/>
            <pc:sldMk cId="1155418492" sldId="1026"/>
            <ac:spMk id="9" creationId="{81253D5D-18ED-4AE3-BCAB-6487528FB50E}"/>
          </ac:spMkLst>
        </pc:spChg>
      </pc:sldChg>
      <pc:sldChg chg="modSp">
        <pc:chgData name="Ruoran Lin (DCP)" userId="5ba63a2c-b5bc-4f17-a87a-a3a824a8af35" providerId="ADAL" clId="{E168D072-D8E7-0249-B5B3-631062399872}" dt="2020-07-07T19:55:12.083" v="33"/>
        <pc:sldMkLst>
          <pc:docMk/>
          <pc:sldMk cId="1049441131" sldId="1040"/>
        </pc:sldMkLst>
        <pc:spChg chg="mod">
          <ac:chgData name="Ruoran Lin (DCP)" userId="5ba63a2c-b5bc-4f17-a87a-a3a824a8af35" providerId="ADAL" clId="{E168D072-D8E7-0249-B5B3-631062399872}" dt="2020-07-07T19:55:12.083" v="33"/>
          <ac:spMkLst>
            <pc:docMk/>
            <pc:sldMk cId="1049441131" sldId="1040"/>
            <ac:spMk id="11" creationId="{9F73CF8E-3ABE-4217-8B34-713BE3456272}"/>
          </ac:spMkLst>
        </pc:spChg>
      </pc:sldChg>
    </pc:docChg>
  </pc:docChgLst>
  <pc:docChgLst>
    <pc:chgData clId="Web-{44027C8D-A682-23DD-5EEC-63A23B3489B7}"/>
    <pc:docChg chg="modSld">
      <pc:chgData name="" userId="" providerId="" clId="Web-{44027C8D-A682-23DD-5EEC-63A23B3489B7}" dt="2020-08-11T15:52:52.360" v="2" actId="20577"/>
      <pc:docMkLst>
        <pc:docMk/>
      </pc:docMkLst>
      <pc:sldChg chg="modSp">
        <pc:chgData name="" userId="" providerId="" clId="Web-{44027C8D-A682-23DD-5EEC-63A23B3489B7}" dt="2020-08-11T15:52:51.454" v="0" actId="20577"/>
        <pc:sldMkLst>
          <pc:docMk/>
          <pc:sldMk cId="866642221" sldId="604"/>
        </pc:sldMkLst>
        <pc:spChg chg="mod">
          <ac:chgData name="" userId="" providerId="" clId="Web-{44027C8D-A682-23DD-5EEC-63A23B3489B7}" dt="2020-08-11T15:52:51.454" v="0" actId="20577"/>
          <ac:spMkLst>
            <pc:docMk/>
            <pc:sldMk cId="866642221" sldId="604"/>
            <ac:spMk id="4" creationId="{00000000-0000-0000-0000-000000000000}"/>
          </ac:spMkLst>
        </pc:spChg>
      </pc:sldChg>
    </pc:docChg>
  </pc:docChgLst>
  <pc:docChgLst>
    <pc:chgData clId="Web-{8953E26E-5100-BB98-0F57-D35A7B279C67}"/>
    <pc:docChg chg="modSld">
      <pc:chgData name="" userId="" providerId="" clId="Web-{8953E26E-5100-BB98-0F57-D35A7B279C67}" dt="2020-07-21T22:02:01.122" v="54" actId="20577"/>
      <pc:docMkLst>
        <pc:docMk/>
      </pc:docMkLst>
    </pc:docChg>
  </pc:docChgLst>
  <pc:docChgLst>
    <pc:chgData clId="Web-{2AD744B7-F37F-3F14-2DB8-5F88A6822F63}"/>
    <pc:docChg chg="modSld">
      <pc:chgData name="" userId="" providerId="" clId="Web-{2AD744B7-F37F-3F14-2DB8-5F88A6822F63}" dt="2020-07-28T23:09:33.581" v="2"/>
      <pc:docMkLst>
        <pc:docMk/>
      </pc:docMkLst>
      <pc:sldChg chg="addSp delSp modSp">
        <pc:chgData name="" userId="" providerId="" clId="Web-{2AD744B7-F37F-3F14-2DB8-5F88A6822F63}" dt="2020-07-28T23:09:33.581" v="2"/>
        <pc:sldMkLst>
          <pc:docMk/>
          <pc:sldMk cId="2535481493" sldId="1116"/>
        </pc:sldMkLst>
        <pc:graphicFrameChg chg="del">
          <ac:chgData name="" userId="" providerId="" clId="Web-{2AD744B7-F37F-3F14-2DB8-5F88A6822F63}" dt="2020-07-28T23:09:30.409" v="0"/>
          <ac:graphicFrameMkLst>
            <pc:docMk/>
            <pc:sldMk cId="2535481493" sldId="1116"/>
            <ac:graphicFrameMk id="10" creationId="{7CA9D784-8A66-BF44-A6EA-3D4DAC7EF62A}"/>
          </ac:graphicFrameMkLst>
        </pc:graphicFrameChg>
        <pc:picChg chg="add del mod">
          <ac:chgData name="" userId="" providerId="" clId="Web-{2AD744B7-F37F-3F14-2DB8-5F88A6822F63}" dt="2020-07-28T23:09:33.581" v="2"/>
          <ac:picMkLst>
            <pc:docMk/>
            <pc:sldMk cId="2535481493" sldId="1116"/>
            <ac:picMk id="3" creationId="{EC562569-81E1-4C2D-92C2-98020828B279}"/>
          </ac:picMkLst>
        </pc:picChg>
      </pc:sldChg>
    </pc:docChg>
  </pc:docChgLst>
  <pc:docChgLst>
    <pc:chgData clId="Web-{D38B2FE3-F4C6-327F-6DB0-3620274488A5}"/>
    <pc:docChg chg="modSld">
      <pc:chgData name="" userId="" providerId="" clId="Web-{D38B2FE3-F4C6-327F-6DB0-3620274488A5}" dt="2020-07-14T15:31:46.316" v="223" actId="20577"/>
      <pc:docMkLst>
        <pc:docMk/>
      </pc:docMkLst>
      <pc:sldChg chg="modSp">
        <pc:chgData name="" userId="" providerId="" clId="Web-{D38B2FE3-F4C6-327F-6DB0-3620274488A5}" dt="2020-07-14T15:31:44.065" v="221" actId="20577"/>
        <pc:sldMkLst>
          <pc:docMk/>
          <pc:sldMk cId="1905173972" sldId="1021"/>
        </pc:sldMkLst>
        <pc:spChg chg="mod">
          <ac:chgData name="" userId="" providerId="" clId="Web-{D38B2FE3-F4C6-327F-6DB0-3620274488A5}" dt="2020-07-14T15:31:44.065" v="221" actId="20577"/>
          <ac:spMkLst>
            <pc:docMk/>
            <pc:sldMk cId="1905173972" sldId="1021"/>
            <ac:spMk id="4" creationId="{AD623AB9-7FF3-4D8B-969D-F514FC343D1B}"/>
          </ac:spMkLst>
        </pc:spChg>
      </pc:sldChg>
    </pc:docChg>
  </pc:docChgLst>
  <pc:docChgLst>
    <pc:chgData clId="Web-{3B2B669E-8274-4EA5-DF83-103B3ED90ABC}"/>
    <pc:docChg chg="">
      <pc:chgData name="" userId="" providerId="" clId="Web-{3B2B669E-8274-4EA5-DF83-103B3ED90ABC}" dt="2020-07-21T21:20:11.459" v="4"/>
      <pc:docMkLst>
        <pc:docMk/>
      </pc:docMkLst>
      <pc:sldChg chg="addCm modCm">
        <pc:chgData name="" userId="" providerId="" clId="Web-{3B2B669E-8274-4EA5-DF83-103B3ED90ABC}" dt="2020-07-21T21:20:11.459" v="4"/>
        <pc:sldMkLst>
          <pc:docMk/>
          <pc:sldMk cId="1905173972" sldId="1021"/>
        </pc:sldMkLst>
      </pc:sldChg>
    </pc:docChg>
  </pc:docChgLst>
  <pc:docChgLst>
    <pc:chgData clId="Web-{884779A7-F42E-7FEB-7B15-ED65FB68DBB5}"/>
    <pc:docChg chg="">
      <pc:chgData name="" userId="" providerId="" clId="Web-{884779A7-F42E-7FEB-7B15-ED65FB68DBB5}" dt="2020-07-21T22:55:15.032" v="3"/>
      <pc:docMkLst>
        <pc:docMk/>
      </pc:docMkLst>
    </pc:docChg>
  </pc:docChgLst>
  <pc:docChgLst>
    <pc:chgData name="Abraham Abreu (DCP)" userId="ade48484-6e32-4902-80a5-797403fc286d" providerId="ADAL" clId="{9E7D1F3A-909D-0D40-9578-7A2986233B76}"/>
    <pc:docChg chg="undo custSel addSld delSld modSld sldOrd">
      <pc:chgData name="Abraham Abreu (DCP)" userId="ade48484-6e32-4902-80a5-797403fc286d" providerId="ADAL" clId="{9E7D1F3A-909D-0D40-9578-7A2986233B76}" dt="2020-08-11T18:55:46.578" v="5566" actId="20577"/>
      <pc:docMkLst>
        <pc:docMk/>
      </pc:docMkLst>
      <pc:sldChg chg="modSp">
        <pc:chgData name="Abraham Abreu (DCP)" userId="ade48484-6e32-4902-80a5-797403fc286d" providerId="ADAL" clId="{9E7D1F3A-909D-0D40-9578-7A2986233B76}" dt="2020-08-11T18:55:46.578" v="5566" actId="20577"/>
        <pc:sldMkLst>
          <pc:docMk/>
          <pc:sldMk cId="2919413864" sldId="1062"/>
        </pc:sldMkLst>
        <pc:spChg chg="mod">
          <ac:chgData name="Abraham Abreu (DCP)" userId="ade48484-6e32-4902-80a5-797403fc286d" providerId="ADAL" clId="{9E7D1F3A-909D-0D40-9578-7A2986233B76}" dt="2020-08-11T18:55:46.578" v="5566" actId="20577"/>
          <ac:spMkLst>
            <pc:docMk/>
            <pc:sldMk cId="2919413864" sldId="1062"/>
            <ac:spMk id="3" creationId="{9CE9A8A5-A744-4605-8FAF-3597001C8A8D}"/>
          </ac:spMkLst>
        </pc:spChg>
      </pc:sldChg>
      <pc:sldChg chg="modSp add ord">
        <pc:chgData name="Abraham Abreu (DCP)" userId="ade48484-6e32-4902-80a5-797403fc286d" providerId="ADAL" clId="{9E7D1F3A-909D-0D40-9578-7A2986233B76}" dt="2020-07-21T21:20:35.459" v="4104"/>
        <pc:sldMkLst>
          <pc:docMk/>
          <pc:sldMk cId="3423035669" sldId="1103"/>
        </pc:sldMkLst>
        <pc:spChg chg="mod">
          <ac:chgData name="Abraham Abreu (DCP)" userId="ade48484-6e32-4902-80a5-797403fc286d" providerId="ADAL" clId="{9E7D1F3A-909D-0D40-9578-7A2986233B76}" dt="2020-07-07T19:37:16.142" v="12" actId="20577"/>
          <ac:spMkLst>
            <pc:docMk/>
            <pc:sldMk cId="3423035669" sldId="1103"/>
            <ac:spMk id="3" creationId="{A4C01C3F-C0B2-456F-B311-5C15E2D429E6}"/>
          </ac:spMkLst>
        </pc:spChg>
      </pc:sldChg>
      <pc:sldChg chg="delSp modSp add del">
        <pc:chgData name="Abraham Abreu (DCP)" userId="ade48484-6e32-4902-80a5-797403fc286d" providerId="ADAL" clId="{9E7D1F3A-909D-0D40-9578-7A2986233B76}" dt="2020-07-07T19:40:49.025" v="19" actId="2696"/>
        <pc:sldMkLst>
          <pc:docMk/>
          <pc:sldMk cId="3041234005" sldId="1104"/>
        </pc:sldMkLst>
        <pc:spChg chg="del">
          <ac:chgData name="Abraham Abreu (DCP)" userId="ade48484-6e32-4902-80a5-797403fc286d" providerId="ADAL" clId="{9E7D1F3A-909D-0D40-9578-7A2986233B76}" dt="2020-07-07T19:40:12.086" v="17" actId="478"/>
          <ac:spMkLst>
            <pc:docMk/>
            <pc:sldMk cId="3041234005" sldId="1104"/>
            <ac:spMk id="6" creationId="{6112D5FE-E18B-6A43-BA78-7662CB7AF3D1}"/>
          </ac:spMkLst>
        </pc:spChg>
        <pc:spChg chg="del">
          <ac:chgData name="Abraham Abreu (DCP)" userId="ade48484-6e32-4902-80a5-797403fc286d" providerId="ADAL" clId="{9E7D1F3A-909D-0D40-9578-7A2986233B76}" dt="2020-07-07T19:38:44.412" v="14" actId="478"/>
          <ac:spMkLst>
            <pc:docMk/>
            <pc:sldMk cId="3041234005" sldId="1104"/>
            <ac:spMk id="9" creationId="{81253D5D-18ED-4AE3-BCAB-6487528FB50E}"/>
          </ac:spMkLst>
        </pc:spChg>
        <pc:spChg chg="mod">
          <ac:chgData name="Abraham Abreu (DCP)" userId="ade48484-6e32-4902-80a5-797403fc286d" providerId="ADAL" clId="{9E7D1F3A-909D-0D40-9578-7A2986233B76}" dt="2020-07-07T19:38:51.403" v="15" actId="1076"/>
          <ac:spMkLst>
            <pc:docMk/>
            <pc:sldMk cId="3041234005" sldId="1104"/>
            <ac:spMk id="10" creationId="{FE15DC25-7282-4E24-BEC3-A8CE6DA6D05B}"/>
          </ac:spMkLst>
        </pc:spChg>
        <pc:graphicFrameChg chg="del">
          <ac:chgData name="Abraham Abreu (DCP)" userId="ade48484-6e32-4902-80a5-797403fc286d" providerId="ADAL" clId="{9E7D1F3A-909D-0D40-9578-7A2986233B76}" dt="2020-07-07T19:39:38.872" v="16" actId="478"/>
          <ac:graphicFrameMkLst>
            <pc:docMk/>
            <pc:sldMk cId="3041234005" sldId="1104"/>
            <ac:graphicFrameMk id="15" creationId="{519EE0ED-7A72-3348-8735-5519A41EDCB8}"/>
          </ac:graphicFrameMkLst>
        </pc:graphicFrameChg>
      </pc:sldChg>
      <pc:sldChg chg="addSp delSp modSp add del mod">
        <pc:chgData name="Abraham Abreu (DCP)" userId="ade48484-6e32-4902-80a5-797403fc286d" providerId="ADAL" clId="{9E7D1F3A-909D-0D40-9578-7A2986233B76}" dt="2020-07-21T21:20:30.874" v="4103" actId="2696"/>
        <pc:sldMkLst>
          <pc:docMk/>
          <pc:sldMk cId="541085824" sldId="1105"/>
        </pc:sldMkLst>
        <pc:spChg chg="mod">
          <ac:chgData name="Abraham Abreu (DCP)" userId="ade48484-6e32-4902-80a5-797403fc286d" providerId="ADAL" clId="{9E7D1F3A-909D-0D40-9578-7A2986233B76}" dt="2020-07-07T19:41:00.973" v="52" actId="20577"/>
          <ac:spMkLst>
            <pc:docMk/>
            <pc:sldMk cId="541085824" sldId="1105"/>
            <ac:spMk id="2" creationId="{8200E8CD-B5E6-B947-A2DD-F0153CAC1894}"/>
          </ac:spMkLst>
        </pc:spChg>
        <pc:spChg chg="del">
          <ac:chgData name="Abraham Abreu (DCP)" userId="ade48484-6e32-4902-80a5-797403fc286d" providerId="ADAL" clId="{9E7D1F3A-909D-0D40-9578-7A2986233B76}" dt="2020-07-14T19:14:20.568" v="1758" actId="478"/>
          <ac:spMkLst>
            <pc:docMk/>
            <pc:sldMk cId="541085824" sldId="1105"/>
            <ac:spMk id="3" creationId="{14AAEED9-364D-4F1A-BCF8-E488B50BEC05}"/>
          </ac:spMkLst>
        </pc:spChg>
        <pc:spChg chg="del">
          <ac:chgData name="Abraham Abreu (DCP)" userId="ade48484-6e32-4902-80a5-797403fc286d" providerId="ADAL" clId="{9E7D1F3A-909D-0D40-9578-7A2986233B76}" dt="2020-07-07T19:46:15.038" v="53" actId="478"/>
          <ac:spMkLst>
            <pc:docMk/>
            <pc:sldMk cId="541085824" sldId="1105"/>
            <ac:spMk id="3" creationId="{8009C817-6683-5A43-AB0A-494DC09E8B44}"/>
          </ac:spMkLst>
        </pc:spChg>
        <pc:spChg chg="del">
          <ac:chgData name="Abraham Abreu (DCP)" userId="ade48484-6e32-4902-80a5-797403fc286d" providerId="ADAL" clId="{9E7D1F3A-909D-0D40-9578-7A2986233B76}" dt="2020-07-21T19:30:46.911" v="3453" actId="478"/>
          <ac:spMkLst>
            <pc:docMk/>
            <pc:sldMk cId="541085824" sldId="1105"/>
            <ac:spMk id="5" creationId="{B63A5B74-BFF7-42A1-8AF6-5D451B15A6D4}"/>
          </ac:spMkLst>
        </pc:spChg>
        <pc:spChg chg="add mod">
          <ac:chgData name="Abraham Abreu (DCP)" userId="ade48484-6e32-4902-80a5-797403fc286d" providerId="ADAL" clId="{9E7D1F3A-909D-0D40-9578-7A2986233B76}" dt="2020-07-14T19:14:33.271" v="1761" actId="1076"/>
          <ac:spMkLst>
            <pc:docMk/>
            <pc:sldMk cId="541085824" sldId="1105"/>
            <ac:spMk id="8" creationId="{C5D35071-9DF3-894D-AAEF-4AE82A6DE3BA}"/>
          </ac:spMkLst>
        </pc:spChg>
        <pc:spChg chg="add mod">
          <ac:chgData name="Abraham Abreu (DCP)" userId="ade48484-6e32-4902-80a5-797403fc286d" providerId="ADAL" clId="{9E7D1F3A-909D-0D40-9578-7A2986233B76}" dt="2020-07-21T19:49:47.165" v="3816" actId="20577"/>
          <ac:spMkLst>
            <pc:docMk/>
            <pc:sldMk cId="541085824" sldId="1105"/>
            <ac:spMk id="9" creationId="{A9B36DDD-F46F-6043-9BD7-AF78A2BAF6A1}"/>
          </ac:spMkLst>
        </pc:spChg>
        <pc:spChg chg="add del mod">
          <ac:chgData name="Abraham Abreu (DCP)" userId="ade48484-6e32-4902-80a5-797403fc286d" providerId="ADAL" clId="{9E7D1F3A-909D-0D40-9578-7A2986233B76}" dt="2020-07-21T19:31:15.144" v="3455" actId="478"/>
          <ac:spMkLst>
            <pc:docMk/>
            <pc:sldMk cId="541085824" sldId="1105"/>
            <ac:spMk id="15" creationId="{7AADEFD4-F184-2344-BE8C-EA6897BF455D}"/>
          </ac:spMkLst>
        </pc:spChg>
        <pc:spChg chg="add del mod">
          <ac:chgData name="Abraham Abreu (DCP)" userId="ade48484-6e32-4902-80a5-797403fc286d" providerId="ADAL" clId="{9E7D1F3A-909D-0D40-9578-7A2986233B76}" dt="2020-07-07T20:51:42.786" v="601" actId="478"/>
          <ac:spMkLst>
            <pc:docMk/>
            <pc:sldMk cId="541085824" sldId="1105"/>
            <ac:spMk id="16" creationId="{39B5E3A4-7F67-C746-B103-2DF764AC2C9B}"/>
          </ac:spMkLst>
        </pc:spChg>
        <pc:spChg chg="add del mod">
          <ac:chgData name="Abraham Abreu (DCP)" userId="ade48484-6e32-4902-80a5-797403fc286d" providerId="ADAL" clId="{9E7D1F3A-909D-0D40-9578-7A2986233B76}" dt="2020-07-21T19:42:58.235" v="3472" actId="478"/>
          <ac:spMkLst>
            <pc:docMk/>
            <pc:sldMk cId="541085824" sldId="1105"/>
            <ac:spMk id="17" creationId="{610B2436-F32C-724B-BC7D-69AAD6DFD8E3}"/>
          </ac:spMkLst>
        </pc:spChg>
        <pc:spChg chg="add del mod">
          <ac:chgData name="Abraham Abreu (DCP)" userId="ade48484-6e32-4902-80a5-797403fc286d" providerId="ADAL" clId="{9E7D1F3A-909D-0D40-9578-7A2986233B76}" dt="2020-07-21T19:42:54.884" v="3471" actId="478"/>
          <ac:spMkLst>
            <pc:docMk/>
            <pc:sldMk cId="541085824" sldId="1105"/>
            <ac:spMk id="19" creationId="{9DCDF5CB-9EE9-CD41-A79B-B8061A59694D}"/>
          </ac:spMkLst>
        </pc:spChg>
        <pc:spChg chg="add del mod">
          <ac:chgData name="Abraham Abreu (DCP)" userId="ade48484-6e32-4902-80a5-797403fc286d" providerId="ADAL" clId="{9E7D1F3A-909D-0D40-9578-7A2986233B76}" dt="2020-07-21T19:42:54.884" v="3471" actId="478"/>
          <ac:spMkLst>
            <pc:docMk/>
            <pc:sldMk cId="541085824" sldId="1105"/>
            <ac:spMk id="34" creationId="{93A8E343-2E08-754C-8B73-9F0B89A3209D}"/>
          </ac:spMkLst>
        </pc:spChg>
        <pc:spChg chg="add del mod">
          <ac:chgData name="Abraham Abreu (DCP)" userId="ade48484-6e32-4902-80a5-797403fc286d" providerId="ADAL" clId="{9E7D1F3A-909D-0D40-9578-7A2986233B76}" dt="2020-07-21T19:42:54.884" v="3471" actId="478"/>
          <ac:spMkLst>
            <pc:docMk/>
            <pc:sldMk cId="541085824" sldId="1105"/>
            <ac:spMk id="41" creationId="{BBDEA32B-2294-7040-9262-019B09AA6DB0}"/>
          </ac:spMkLst>
        </pc:spChg>
        <pc:graphicFrameChg chg="add mod">
          <ac:chgData name="Abraham Abreu (DCP)" userId="ade48484-6e32-4902-80a5-797403fc286d" providerId="ADAL" clId="{9E7D1F3A-909D-0D40-9578-7A2986233B76}" dt="2020-07-21T19:32:54.379" v="3465"/>
          <ac:graphicFrameMkLst>
            <pc:docMk/>
            <pc:sldMk cId="541085824" sldId="1105"/>
            <ac:graphicFrameMk id="3" creationId="{B47CE87E-B916-9C40-BF57-A9E80747654E}"/>
          </ac:graphicFrameMkLst>
        </pc:graphicFrameChg>
        <pc:graphicFrameChg chg="add del mod">
          <ac:chgData name="Abraham Abreu (DCP)" userId="ade48484-6e32-4902-80a5-797403fc286d" providerId="ADAL" clId="{9E7D1F3A-909D-0D40-9578-7A2986233B76}" dt="2020-07-07T19:47:43.741" v="63" actId="478"/>
          <ac:graphicFrameMkLst>
            <pc:docMk/>
            <pc:sldMk cId="541085824" sldId="1105"/>
            <ac:graphicFrameMk id="5" creationId="{2C8503C8-900A-C54E-AF93-DCEE19E2A8B6}"/>
          </ac:graphicFrameMkLst>
        </pc:graphicFrameChg>
        <pc:graphicFrameChg chg="add del mod">
          <ac:chgData name="Abraham Abreu (DCP)" userId="ade48484-6e32-4902-80a5-797403fc286d" providerId="ADAL" clId="{9E7D1F3A-909D-0D40-9578-7A2986233B76}" dt="2020-07-07T19:47:32.673" v="62" actId="478"/>
          <ac:graphicFrameMkLst>
            <pc:docMk/>
            <pc:sldMk cId="541085824" sldId="1105"/>
            <ac:graphicFrameMk id="6" creationId="{CD9EF3F2-E545-EB47-BFAC-B93DFA01AEA0}"/>
          </ac:graphicFrameMkLst>
        </pc:graphicFrameChg>
        <pc:graphicFrameChg chg="add del mod">
          <ac:chgData name="Abraham Abreu (DCP)" userId="ade48484-6e32-4902-80a5-797403fc286d" providerId="ADAL" clId="{9E7D1F3A-909D-0D40-9578-7A2986233B76}" dt="2020-07-07T20:47:26.253" v="419" actId="21"/>
          <ac:graphicFrameMkLst>
            <pc:docMk/>
            <pc:sldMk cId="541085824" sldId="1105"/>
            <ac:graphicFrameMk id="7" creationId="{41276F6B-4E09-0141-86A8-AA9D8800AF35}"/>
          </ac:graphicFrameMkLst>
        </pc:graphicFrameChg>
        <pc:graphicFrameChg chg="add del mod">
          <ac:chgData name="Abraham Abreu (DCP)" userId="ade48484-6e32-4902-80a5-797403fc286d" providerId="ADAL" clId="{9E7D1F3A-909D-0D40-9578-7A2986233B76}" dt="2020-07-07T20:47:50.993" v="422" actId="478"/>
          <ac:graphicFrameMkLst>
            <pc:docMk/>
            <pc:sldMk cId="541085824" sldId="1105"/>
            <ac:graphicFrameMk id="10" creationId="{4F0DCD22-3239-BF4B-8D5F-A60D220A2B59}"/>
          </ac:graphicFrameMkLst>
        </pc:graphicFrameChg>
        <pc:graphicFrameChg chg="add del mod">
          <ac:chgData name="Abraham Abreu (DCP)" userId="ade48484-6e32-4902-80a5-797403fc286d" providerId="ADAL" clId="{9E7D1F3A-909D-0D40-9578-7A2986233B76}" dt="2020-07-07T20:48:01.581" v="426" actId="478"/>
          <ac:graphicFrameMkLst>
            <pc:docMk/>
            <pc:sldMk cId="541085824" sldId="1105"/>
            <ac:graphicFrameMk id="11" creationId="{41276F6B-4E09-0141-86A8-AA9D8800AF35}"/>
          </ac:graphicFrameMkLst>
        </pc:graphicFrameChg>
        <pc:graphicFrameChg chg="add del mod">
          <ac:chgData name="Abraham Abreu (DCP)" userId="ade48484-6e32-4902-80a5-797403fc286d" providerId="ADAL" clId="{9E7D1F3A-909D-0D40-9578-7A2986233B76}" dt="2020-07-07T20:48:11.738" v="428" actId="478"/>
          <ac:graphicFrameMkLst>
            <pc:docMk/>
            <pc:sldMk cId="541085824" sldId="1105"/>
            <ac:graphicFrameMk id="12" creationId="{2FE3E406-D7C8-F149-84AA-0D9D6CE253BC}"/>
          </ac:graphicFrameMkLst>
        </pc:graphicFrameChg>
        <pc:graphicFrameChg chg="add del mod">
          <ac:chgData name="Abraham Abreu (DCP)" userId="ade48484-6e32-4902-80a5-797403fc286d" providerId="ADAL" clId="{9E7D1F3A-909D-0D40-9578-7A2986233B76}" dt="2020-07-07T20:48:40.051" v="436" actId="478"/>
          <ac:graphicFrameMkLst>
            <pc:docMk/>
            <pc:sldMk cId="541085824" sldId="1105"/>
            <ac:graphicFrameMk id="13" creationId="{41276F6B-4E09-0141-86A8-AA9D8800AF35}"/>
          </ac:graphicFrameMkLst>
        </pc:graphicFrameChg>
        <pc:graphicFrameChg chg="add del mod">
          <ac:chgData name="Abraham Abreu (DCP)" userId="ade48484-6e32-4902-80a5-797403fc286d" providerId="ADAL" clId="{9E7D1F3A-909D-0D40-9578-7A2986233B76}" dt="2020-07-14T19:19:34.293" v="1809" actId="478"/>
          <ac:graphicFrameMkLst>
            <pc:docMk/>
            <pc:sldMk cId="541085824" sldId="1105"/>
            <ac:graphicFrameMk id="14" creationId="{41276F6B-4E09-0141-86A8-AA9D8800AF35}"/>
          </ac:graphicFrameMkLst>
        </pc:graphicFrameChg>
        <pc:graphicFrameChg chg="add del mod">
          <ac:chgData name="Abraham Abreu (DCP)" userId="ade48484-6e32-4902-80a5-797403fc286d" providerId="ADAL" clId="{9E7D1F3A-909D-0D40-9578-7A2986233B76}" dt="2020-07-21T19:31:02.270" v="3454" actId="478"/>
          <ac:graphicFrameMkLst>
            <pc:docMk/>
            <pc:sldMk cId="541085824" sldId="1105"/>
            <ac:graphicFrameMk id="16" creationId="{41276F6B-4E09-0141-86A8-AA9D8800AF35}"/>
          </ac:graphicFrameMkLst>
        </pc:graphicFrameChg>
        <pc:graphicFrameChg chg="add del mod">
          <ac:chgData name="Abraham Abreu (DCP)" userId="ade48484-6e32-4902-80a5-797403fc286d" providerId="ADAL" clId="{9E7D1F3A-909D-0D40-9578-7A2986233B76}" dt="2020-07-21T19:32:31.006" v="3464" actId="478"/>
          <ac:graphicFrameMkLst>
            <pc:docMk/>
            <pc:sldMk cId="541085824" sldId="1105"/>
            <ac:graphicFrameMk id="18" creationId="{0BA92935-3131-6A47-AD92-F39EE969876F}"/>
          </ac:graphicFrameMkLst>
        </pc:graphicFrameChg>
        <pc:graphicFrameChg chg="add del mod">
          <ac:chgData name="Abraham Abreu (DCP)" userId="ade48484-6e32-4902-80a5-797403fc286d" providerId="ADAL" clId="{9E7D1F3A-909D-0D40-9578-7A2986233B76}" dt="2020-07-21T19:42:50.726" v="3470" actId="478"/>
          <ac:graphicFrameMkLst>
            <pc:docMk/>
            <pc:sldMk cId="541085824" sldId="1105"/>
            <ac:graphicFrameMk id="20" creationId="{0BA92935-3131-6A47-AD92-F39EE969876F}"/>
          </ac:graphicFrameMkLst>
        </pc:graphicFrameChg>
        <pc:graphicFrameChg chg="add mod">
          <ac:chgData name="Abraham Abreu (DCP)" userId="ade48484-6e32-4902-80a5-797403fc286d" providerId="ADAL" clId="{9E7D1F3A-909D-0D40-9578-7A2986233B76}" dt="2020-07-21T19:44:35.339" v="3491" actId="1076"/>
          <ac:graphicFrameMkLst>
            <pc:docMk/>
            <pc:sldMk cId="541085824" sldId="1105"/>
            <ac:graphicFrameMk id="21" creationId="{0BA92935-3131-6A47-AD92-F39EE969876F}"/>
          </ac:graphicFrameMkLst>
        </pc:graphicFrameChg>
        <pc:cxnChg chg="add del mod">
          <ac:chgData name="Abraham Abreu (DCP)" userId="ade48484-6e32-4902-80a5-797403fc286d" providerId="ADAL" clId="{9E7D1F3A-909D-0D40-9578-7A2986233B76}" dt="2020-07-14T19:32:05.355" v="2387" actId="478"/>
          <ac:cxnSpMkLst>
            <pc:docMk/>
            <pc:sldMk cId="541085824" sldId="1105"/>
            <ac:cxnSpMk id="6" creationId="{0179CEA6-8B1A-EF4D-875B-E2CF1242AF20}"/>
          </ac:cxnSpMkLst>
        </pc:cxnChg>
        <pc:cxnChg chg="add del mod">
          <ac:chgData name="Abraham Abreu (DCP)" userId="ade48484-6e32-4902-80a5-797403fc286d" providerId="ADAL" clId="{9E7D1F3A-909D-0D40-9578-7A2986233B76}" dt="2020-07-21T19:42:54.884" v="3471" actId="478"/>
          <ac:cxnSpMkLst>
            <pc:docMk/>
            <pc:sldMk cId="541085824" sldId="1105"/>
            <ac:cxnSpMk id="10" creationId="{22213FF8-FA69-E94B-A600-930175BA5404}"/>
          </ac:cxnSpMkLst>
        </pc:cxnChg>
        <pc:cxnChg chg="add del mod">
          <ac:chgData name="Abraham Abreu (DCP)" userId="ade48484-6e32-4902-80a5-797403fc286d" providerId="ADAL" clId="{9E7D1F3A-909D-0D40-9578-7A2986233B76}" dt="2020-07-07T21:13:34.884" v="1152" actId="478"/>
          <ac:cxnSpMkLst>
            <pc:docMk/>
            <pc:sldMk cId="541085824" sldId="1105"/>
            <ac:cxnSpMk id="18" creationId="{0F23AABF-7387-E04F-8269-A5826FE72A8A}"/>
          </ac:cxnSpMkLst>
        </pc:cxnChg>
        <pc:cxnChg chg="add del mod">
          <ac:chgData name="Abraham Abreu (DCP)" userId="ade48484-6e32-4902-80a5-797403fc286d" providerId="ADAL" clId="{9E7D1F3A-909D-0D40-9578-7A2986233B76}" dt="2020-07-21T19:42:54.884" v="3471" actId="478"/>
          <ac:cxnSpMkLst>
            <pc:docMk/>
            <pc:sldMk cId="541085824" sldId="1105"/>
            <ac:cxnSpMk id="22" creationId="{D91574D1-302D-6146-9066-D5C738717578}"/>
          </ac:cxnSpMkLst>
        </pc:cxnChg>
        <pc:cxnChg chg="add del mod">
          <ac:chgData name="Abraham Abreu (DCP)" userId="ade48484-6e32-4902-80a5-797403fc286d" providerId="ADAL" clId="{9E7D1F3A-909D-0D40-9578-7A2986233B76}" dt="2020-07-21T19:42:54.884" v="3471" actId="478"/>
          <ac:cxnSpMkLst>
            <pc:docMk/>
            <pc:sldMk cId="541085824" sldId="1105"/>
            <ac:cxnSpMk id="32" creationId="{310A2608-684E-6545-8717-1343C47862E9}"/>
          </ac:cxnSpMkLst>
        </pc:cxnChg>
        <pc:cxnChg chg="add del mod">
          <ac:chgData name="Abraham Abreu (DCP)" userId="ade48484-6e32-4902-80a5-797403fc286d" providerId="ADAL" clId="{9E7D1F3A-909D-0D40-9578-7A2986233B76}" dt="2020-07-07T21:23:11.445" v="1423" actId="478"/>
          <ac:cxnSpMkLst>
            <pc:docMk/>
            <pc:sldMk cId="541085824" sldId="1105"/>
            <ac:cxnSpMk id="42" creationId="{6DF6E6EE-2AA6-D848-AD8B-5A1B998E7BAE}"/>
          </ac:cxnSpMkLst>
        </pc:cxnChg>
        <pc:cxnChg chg="add del mod">
          <ac:chgData name="Abraham Abreu (DCP)" userId="ade48484-6e32-4902-80a5-797403fc286d" providerId="ADAL" clId="{9E7D1F3A-909D-0D40-9578-7A2986233B76}" dt="2020-07-21T19:42:54.884" v="3471" actId="478"/>
          <ac:cxnSpMkLst>
            <pc:docMk/>
            <pc:sldMk cId="541085824" sldId="1105"/>
            <ac:cxnSpMk id="58" creationId="{7AED0E47-3E61-ED4A-9B96-DDF56C010A2D}"/>
          </ac:cxnSpMkLst>
        </pc:cxnChg>
      </pc:sldChg>
      <pc:sldChg chg="addSp delSp modSp add">
        <pc:chgData name="Abraham Abreu (DCP)" userId="ade48484-6e32-4902-80a5-797403fc286d" providerId="ADAL" clId="{9E7D1F3A-909D-0D40-9578-7A2986233B76}" dt="2020-07-21T21:33:45.865" v="5193" actId="692"/>
        <pc:sldMkLst>
          <pc:docMk/>
          <pc:sldMk cId="1348323443" sldId="1124"/>
        </pc:sldMkLst>
        <pc:spChg chg="mod">
          <ac:chgData name="Abraham Abreu (DCP)" userId="ade48484-6e32-4902-80a5-797403fc286d" providerId="ADAL" clId="{9E7D1F3A-909D-0D40-9578-7A2986233B76}" dt="2020-07-21T21:21:03.867" v="4158" actId="20577"/>
          <ac:spMkLst>
            <pc:docMk/>
            <pc:sldMk cId="1348323443" sldId="1124"/>
            <ac:spMk id="2" creationId="{DB233A8E-5524-4F7C-B106-F05E0647C654}"/>
          </ac:spMkLst>
        </pc:spChg>
        <pc:spChg chg="del">
          <ac:chgData name="Abraham Abreu (DCP)" userId="ade48484-6e32-4902-80a5-797403fc286d" providerId="ADAL" clId="{9E7D1F3A-909D-0D40-9578-7A2986233B76}" dt="2020-07-21T21:20:39.086" v="4105" actId="478"/>
          <ac:spMkLst>
            <pc:docMk/>
            <pc:sldMk cId="1348323443" sldId="1124"/>
            <ac:spMk id="3" creationId="{A4C01C3F-C0B2-456F-B311-5C15E2D429E6}"/>
          </ac:spMkLst>
        </pc:spChg>
        <pc:spChg chg="add del mod">
          <ac:chgData name="Abraham Abreu (DCP)" userId="ade48484-6e32-4902-80a5-797403fc286d" providerId="ADAL" clId="{9E7D1F3A-909D-0D40-9578-7A2986233B76}" dt="2020-07-21T21:20:41.858" v="4106" actId="478"/>
          <ac:spMkLst>
            <pc:docMk/>
            <pc:sldMk cId="1348323443" sldId="1124"/>
            <ac:spMk id="6" creationId="{12E1B5C7-5C1E-AA44-8C3D-57675593F39F}"/>
          </ac:spMkLst>
        </pc:spChg>
        <pc:spChg chg="add del mod">
          <ac:chgData name="Abraham Abreu (DCP)" userId="ade48484-6e32-4902-80a5-797403fc286d" providerId="ADAL" clId="{9E7D1F3A-909D-0D40-9578-7A2986233B76}" dt="2020-07-21T21:22:13.050" v="4169"/>
          <ac:spMkLst>
            <pc:docMk/>
            <pc:sldMk cId="1348323443" sldId="1124"/>
            <ac:spMk id="8" creationId="{16571F56-68D5-8948-B9BD-02D8433D127C}"/>
          </ac:spMkLst>
        </pc:spChg>
        <pc:spChg chg="add mod">
          <ac:chgData name="Abraham Abreu (DCP)" userId="ade48484-6e32-4902-80a5-797403fc286d" providerId="ADAL" clId="{9E7D1F3A-909D-0D40-9578-7A2986233B76}" dt="2020-07-21T21:26:46.827" v="4807" actId="20577"/>
          <ac:spMkLst>
            <pc:docMk/>
            <pc:sldMk cId="1348323443" sldId="1124"/>
            <ac:spMk id="9" creationId="{8B6ED58D-04D0-CE44-A117-791BC4258E93}"/>
          </ac:spMkLst>
        </pc:spChg>
        <pc:spChg chg="add mod">
          <ac:chgData name="Abraham Abreu (DCP)" userId="ade48484-6e32-4902-80a5-797403fc286d" providerId="ADAL" clId="{9E7D1F3A-909D-0D40-9578-7A2986233B76}" dt="2020-07-21T21:31:47.977" v="5186" actId="14100"/>
          <ac:spMkLst>
            <pc:docMk/>
            <pc:sldMk cId="1348323443" sldId="1124"/>
            <ac:spMk id="10" creationId="{8FF502E3-DBEA-7B4A-9144-813DEE332478}"/>
          </ac:spMkLst>
        </pc:spChg>
        <pc:graphicFrameChg chg="add del mod">
          <ac:chgData name="Abraham Abreu (DCP)" userId="ade48484-6e32-4902-80a5-797403fc286d" providerId="ADAL" clId="{9E7D1F3A-909D-0D40-9578-7A2986233B76}" dt="2020-07-21T21:29:39.924" v="5150" actId="478"/>
          <ac:graphicFrameMkLst>
            <pc:docMk/>
            <pc:sldMk cId="1348323443" sldId="1124"/>
            <ac:graphicFrameMk id="7" creationId="{0BA92935-3131-6A47-AD92-F39EE969876F}"/>
          </ac:graphicFrameMkLst>
        </pc:graphicFrameChg>
        <pc:graphicFrameChg chg="add del mod">
          <ac:chgData name="Abraham Abreu (DCP)" userId="ade48484-6e32-4902-80a5-797403fc286d" providerId="ADAL" clId="{9E7D1F3A-909D-0D40-9578-7A2986233B76}" dt="2020-07-21T21:30:20.891" v="5163" actId="478"/>
          <ac:graphicFrameMkLst>
            <pc:docMk/>
            <pc:sldMk cId="1348323443" sldId="1124"/>
            <ac:graphicFrameMk id="11" creationId="{0BA92935-3131-6A47-AD92-F39EE969876F}"/>
          </ac:graphicFrameMkLst>
        </pc:graphicFrameChg>
        <pc:graphicFrameChg chg="add mod">
          <ac:chgData name="Abraham Abreu (DCP)" userId="ade48484-6e32-4902-80a5-797403fc286d" providerId="ADAL" clId="{9E7D1F3A-909D-0D40-9578-7A2986233B76}" dt="2020-07-21T21:33:45.865" v="5193" actId="692"/>
          <ac:graphicFrameMkLst>
            <pc:docMk/>
            <pc:sldMk cId="1348323443" sldId="1124"/>
            <ac:graphicFrameMk id="12" creationId="{0BA92935-3131-6A47-AD92-F39EE969876F}"/>
          </ac:graphicFrameMkLst>
        </pc:graphicFrameChg>
      </pc:sldChg>
    </pc:docChg>
  </pc:docChgLst>
  <pc:docChgLst>
    <pc:chgData name="Yijun Ma" userId="6b140692-16f7-4f54-a783-028f16aab7b0" providerId="ADAL" clId="{D8EF0EAD-E2C5-4FF5-B379-A6847E44CA32}"/>
    <pc:docChg chg="custSel modSld">
      <pc:chgData name="Yijun Ma" userId="6b140692-16f7-4f54-a783-028f16aab7b0" providerId="ADAL" clId="{D8EF0EAD-E2C5-4FF5-B379-A6847E44CA32}" dt="2020-08-10T18:32:29.605" v="144" actId="14100"/>
      <pc:docMkLst>
        <pc:docMk/>
      </pc:docMkLst>
      <pc:sldChg chg="addSp delSp modSp modNotesTx">
        <pc:chgData name="Yijun Ma" userId="6b140692-16f7-4f54-a783-028f16aab7b0" providerId="ADAL" clId="{D8EF0EAD-E2C5-4FF5-B379-A6847E44CA32}" dt="2020-08-10T18:16:24.124" v="86" actId="14100"/>
        <pc:sldMkLst>
          <pc:docMk/>
          <pc:sldMk cId="2415737977" sldId="1063"/>
        </pc:sldMkLst>
        <pc:spChg chg="add mod">
          <ac:chgData name="Yijun Ma" userId="6b140692-16f7-4f54-a783-028f16aab7b0" providerId="ADAL" clId="{D8EF0EAD-E2C5-4FF5-B379-A6847E44CA32}" dt="2020-08-10T18:15:54.124" v="77" actId="14100"/>
          <ac:spMkLst>
            <pc:docMk/>
            <pc:sldMk cId="2415737977" sldId="1063"/>
            <ac:spMk id="13" creationId="{BFBBF5D7-8FAD-4A37-8953-5CB04584C3FD}"/>
          </ac:spMkLst>
        </pc:spChg>
        <pc:spChg chg="add del mod">
          <ac:chgData name="Yijun Ma" userId="6b140692-16f7-4f54-a783-028f16aab7b0" providerId="ADAL" clId="{D8EF0EAD-E2C5-4FF5-B379-A6847E44CA32}" dt="2020-08-10T18:16:01.321" v="79" actId="478"/>
          <ac:spMkLst>
            <pc:docMk/>
            <pc:sldMk cId="2415737977" sldId="1063"/>
            <ac:spMk id="14" creationId="{97D3C364-1503-4DD2-BF75-23DE3DE6CE91}"/>
          </ac:spMkLst>
        </pc:spChg>
        <pc:spChg chg="add mod">
          <ac:chgData name="Yijun Ma" userId="6b140692-16f7-4f54-a783-028f16aab7b0" providerId="ADAL" clId="{D8EF0EAD-E2C5-4FF5-B379-A6847E44CA32}" dt="2020-08-10T18:16:06.173" v="80" actId="571"/>
          <ac:spMkLst>
            <pc:docMk/>
            <pc:sldMk cId="2415737977" sldId="1063"/>
            <ac:spMk id="16" creationId="{56240393-F53F-4E83-9707-74910B7DEA74}"/>
          </ac:spMkLst>
        </pc:spChg>
        <pc:picChg chg="add mod ord">
          <ac:chgData name="Yijun Ma" userId="6b140692-16f7-4f54-a783-028f16aab7b0" providerId="ADAL" clId="{D8EF0EAD-E2C5-4FF5-B379-A6847E44CA32}" dt="2020-08-10T18:10:17.562" v="4" actId="167"/>
          <ac:picMkLst>
            <pc:docMk/>
            <pc:sldMk cId="2415737977" sldId="1063"/>
            <ac:picMk id="3" creationId="{F572B06F-3DEA-44F6-85AB-8D89F1507EF9}"/>
          </ac:picMkLst>
        </pc:picChg>
        <pc:picChg chg="add mod ord">
          <ac:chgData name="Yijun Ma" userId="6b140692-16f7-4f54-a783-028f16aab7b0" providerId="ADAL" clId="{D8EF0EAD-E2C5-4FF5-B379-A6847E44CA32}" dt="2020-08-10T18:13:36.046" v="59" actId="1076"/>
          <ac:picMkLst>
            <pc:docMk/>
            <pc:sldMk cId="2415737977" sldId="1063"/>
            <ac:picMk id="5" creationId="{4B0BC375-A5C6-4133-8F25-C4062023EA5A}"/>
          </ac:picMkLst>
        </pc:picChg>
        <pc:picChg chg="del">
          <ac:chgData name="Yijun Ma" userId="6b140692-16f7-4f54-a783-028f16aab7b0" providerId="ADAL" clId="{D8EF0EAD-E2C5-4FF5-B379-A6847E44CA32}" dt="2020-08-10T18:10:19.354" v="5" actId="478"/>
          <ac:picMkLst>
            <pc:docMk/>
            <pc:sldMk cId="2415737977" sldId="1063"/>
            <ac:picMk id="6" creationId="{B768E831-0127-483A-AF3C-36E4E2576D34}"/>
          </ac:picMkLst>
        </pc:picChg>
        <pc:picChg chg="del">
          <ac:chgData name="Yijun Ma" userId="6b140692-16f7-4f54-a783-028f16aab7b0" providerId="ADAL" clId="{D8EF0EAD-E2C5-4FF5-B379-A6847E44CA32}" dt="2020-08-10T18:13:23.655" v="57" actId="478"/>
          <ac:picMkLst>
            <pc:docMk/>
            <pc:sldMk cId="2415737977" sldId="1063"/>
            <ac:picMk id="8" creationId="{1064E9A7-35D4-4FD8-A7CC-5BBA10E1490E}"/>
          </ac:picMkLst>
        </pc:picChg>
        <pc:picChg chg="add mod">
          <ac:chgData name="Yijun Ma" userId="6b140692-16f7-4f54-a783-028f16aab7b0" providerId="ADAL" clId="{D8EF0EAD-E2C5-4FF5-B379-A6847E44CA32}" dt="2020-08-10T18:16:24.124" v="86" actId="14100"/>
          <ac:picMkLst>
            <pc:docMk/>
            <pc:sldMk cId="2415737977" sldId="1063"/>
            <ac:picMk id="9" creationId="{ABB67C17-2DCF-47F8-88F6-EA7FE62AEA6C}"/>
          </ac:picMkLst>
        </pc:picChg>
        <pc:picChg chg="add mod">
          <ac:chgData name="Yijun Ma" userId="6b140692-16f7-4f54-a783-028f16aab7b0" providerId="ADAL" clId="{D8EF0EAD-E2C5-4FF5-B379-A6847E44CA32}" dt="2020-08-10T18:16:20.061" v="85" actId="14100"/>
          <ac:picMkLst>
            <pc:docMk/>
            <pc:sldMk cId="2415737977" sldId="1063"/>
            <ac:picMk id="10" creationId="{A15D82CA-02E3-47E9-B760-0B9DD8D7C74B}"/>
          </ac:picMkLst>
        </pc:picChg>
        <pc:picChg chg="del">
          <ac:chgData name="Yijun Ma" userId="6b140692-16f7-4f54-a783-028f16aab7b0" providerId="ADAL" clId="{D8EF0EAD-E2C5-4FF5-B379-A6847E44CA32}" dt="2020-08-10T18:11:39.568" v="51" actId="478"/>
          <ac:picMkLst>
            <pc:docMk/>
            <pc:sldMk cId="2415737977" sldId="1063"/>
            <ac:picMk id="11" creationId="{0BA8D398-88BB-446C-ABC4-58F1E96F418B}"/>
          </ac:picMkLst>
        </pc:picChg>
        <pc:picChg chg="del mod">
          <ac:chgData name="Yijun Ma" userId="6b140692-16f7-4f54-a783-028f16aab7b0" providerId="ADAL" clId="{D8EF0EAD-E2C5-4FF5-B379-A6847E44CA32}" dt="2020-08-10T18:11:38.487" v="50" actId="478"/>
          <ac:picMkLst>
            <pc:docMk/>
            <pc:sldMk cId="2415737977" sldId="1063"/>
            <ac:picMk id="12" creationId="{92065873-0B18-4178-8F49-0ACB4EC90071}"/>
          </ac:picMkLst>
        </pc:picChg>
      </pc:sldChg>
      <pc:sldChg chg="addSp delSp modSp">
        <pc:chgData name="Yijun Ma" userId="6b140692-16f7-4f54-a783-028f16aab7b0" providerId="ADAL" clId="{D8EF0EAD-E2C5-4FF5-B379-A6847E44CA32}" dt="2020-08-10T18:32:29.605" v="144" actId="14100"/>
        <pc:sldMkLst>
          <pc:docMk/>
          <pc:sldMk cId="3338364421" sldId="1128"/>
        </pc:sldMkLst>
        <pc:spChg chg="del">
          <ac:chgData name="Yijun Ma" userId="6b140692-16f7-4f54-a783-028f16aab7b0" providerId="ADAL" clId="{D8EF0EAD-E2C5-4FF5-B379-A6847E44CA32}" dt="2020-08-10T18:19:42.776" v="87" actId="478"/>
          <ac:spMkLst>
            <pc:docMk/>
            <pc:sldMk cId="3338364421" sldId="1128"/>
            <ac:spMk id="8" creationId="{34CCD13F-ECFC-4789-86D6-115EF2F75F10}"/>
          </ac:spMkLst>
        </pc:spChg>
        <pc:spChg chg="add mod">
          <ac:chgData name="Yijun Ma" userId="6b140692-16f7-4f54-a783-028f16aab7b0" providerId="ADAL" clId="{D8EF0EAD-E2C5-4FF5-B379-A6847E44CA32}" dt="2020-08-10T18:24:12.899" v="116" actId="1076"/>
          <ac:spMkLst>
            <pc:docMk/>
            <pc:sldMk cId="3338364421" sldId="1128"/>
            <ac:spMk id="12" creationId="{FD70289B-A494-40A8-B0E0-E27676B5EAA9}"/>
          </ac:spMkLst>
        </pc:spChg>
        <pc:spChg chg="add mod">
          <ac:chgData name="Yijun Ma" userId="6b140692-16f7-4f54-a783-028f16aab7b0" providerId="ADAL" clId="{D8EF0EAD-E2C5-4FF5-B379-A6847E44CA32}" dt="2020-08-10T18:24:45.535" v="120" actId="571"/>
          <ac:spMkLst>
            <pc:docMk/>
            <pc:sldMk cId="3338364421" sldId="1128"/>
            <ac:spMk id="15" creationId="{E96874A4-60B6-453A-8BE6-5ABAE484BD10}"/>
          </ac:spMkLst>
        </pc:spChg>
        <pc:spChg chg="del">
          <ac:chgData name="Yijun Ma" userId="6b140692-16f7-4f54-a783-028f16aab7b0" providerId="ADAL" clId="{D8EF0EAD-E2C5-4FF5-B379-A6847E44CA32}" dt="2020-08-10T18:24:41.087" v="119" actId="478"/>
          <ac:spMkLst>
            <pc:docMk/>
            <pc:sldMk cId="3338364421" sldId="1128"/>
            <ac:spMk id="16" creationId="{085D41A7-F096-4C0E-B8F3-DD0B86291275}"/>
          </ac:spMkLst>
        </pc:spChg>
        <pc:spChg chg="mod">
          <ac:chgData name="Yijun Ma" userId="6b140692-16f7-4f54-a783-028f16aab7b0" providerId="ADAL" clId="{D8EF0EAD-E2C5-4FF5-B379-A6847E44CA32}" dt="2020-08-10T18:32:29.605" v="144" actId="14100"/>
          <ac:spMkLst>
            <pc:docMk/>
            <pc:sldMk cId="3338364421" sldId="1128"/>
            <ac:spMk id="20" creationId="{F5A93634-EFB0-4F1D-8EB9-1AD5FF7384D9}"/>
          </ac:spMkLst>
        </pc:spChg>
        <pc:picChg chg="del">
          <ac:chgData name="Yijun Ma" userId="6b140692-16f7-4f54-a783-028f16aab7b0" providerId="ADAL" clId="{D8EF0EAD-E2C5-4FF5-B379-A6847E44CA32}" dt="2020-08-10T18:24:01.398" v="115" actId="478"/>
          <ac:picMkLst>
            <pc:docMk/>
            <pc:sldMk cId="3338364421" sldId="1128"/>
            <ac:picMk id="3" creationId="{3193F079-8389-41E4-82B5-A5478A30911C}"/>
          </ac:picMkLst>
        </pc:picChg>
        <pc:picChg chg="add del">
          <ac:chgData name="Yijun Ma" userId="6b140692-16f7-4f54-a783-028f16aab7b0" providerId="ADAL" clId="{D8EF0EAD-E2C5-4FF5-B379-A6847E44CA32}" dt="2020-08-10T18:23:49.001" v="110" actId="478"/>
          <ac:picMkLst>
            <pc:docMk/>
            <pc:sldMk cId="3338364421" sldId="1128"/>
            <ac:picMk id="5" creationId="{D19579D1-7A03-4683-AC1C-27B5B8BE21E4}"/>
          </ac:picMkLst>
        </pc:picChg>
        <pc:picChg chg="add mod ord">
          <ac:chgData name="Yijun Ma" userId="6b140692-16f7-4f54-a783-028f16aab7b0" providerId="ADAL" clId="{D8EF0EAD-E2C5-4FF5-B379-A6847E44CA32}" dt="2020-08-10T18:23:59.766" v="114" actId="167"/>
          <ac:picMkLst>
            <pc:docMk/>
            <pc:sldMk cId="3338364421" sldId="1128"/>
            <ac:picMk id="6" creationId="{8B7FD23C-3404-4273-BC70-33AEA90CDFA0}"/>
          </ac:picMkLst>
        </pc:picChg>
        <pc:picChg chg="add mod ord">
          <ac:chgData name="Yijun Ma" userId="6b140692-16f7-4f54-a783-028f16aab7b0" providerId="ADAL" clId="{D8EF0EAD-E2C5-4FF5-B379-A6847E44CA32}" dt="2020-08-10T18:31:34.205" v="125" actId="167"/>
          <ac:picMkLst>
            <pc:docMk/>
            <pc:sldMk cId="3338364421" sldId="1128"/>
            <ac:picMk id="9" creationId="{F30C46C0-8CB5-4A29-B468-2B2F9869DAB6}"/>
          </ac:picMkLst>
        </pc:picChg>
        <pc:picChg chg="del">
          <ac:chgData name="Yijun Ma" userId="6b140692-16f7-4f54-a783-028f16aab7b0" providerId="ADAL" clId="{D8EF0EAD-E2C5-4FF5-B379-A6847E44CA32}" dt="2020-08-10T18:31:35.661" v="126" actId="478"/>
          <ac:picMkLst>
            <pc:docMk/>
            <pc:sldMk cId="3338364421" sldId="1128"/>
            <ac:picMk id="11" creationId="{65B64175-FBED-4BE1-AA2B-D7D962D7E47D}"/>
          </ac:picMkLst>
        </pc:picChg>
        <pc:picChg chg="mod">
          <ac:chgData name="Yijun Ma" userId="6b140692-16f7-4f54-a783-028f16aab7b0" providerId="ADAL" clId="{D8EF0EAD-E2C5-4FF5-B379-A6847E44CA32}" dt="2020-08-10T18:31:55.007" v="129" actId="14100"/>
          <ac:picMkLst>
            <pc:docMk/>
            <pc:sldMk cId="3338364421" sldId="1128"/>
            <ac:picMk id="13" creationId="{464CD594-D00A-43D1-8E66-094F4EBB3A9F}"/>
          </ac:picMkLst>
        </pc:picChg>
        <pc:picChg chg="mod">
          <ac:chgData name="Yijun Ma" userId="6b140692-16f7-4f54-a783-028f16aab7b0" providerId="ADAL" clId="{D8EF0EAD-E2C5-4FF5-B379-A6847E44CA32}" dt="2020-08-10T18:31:58.113" v="130" actId="14100"/>
          <ac:picMkLst>
            <pc:docMk/>
            <pc:sldMk cId="3338364421" sldId="1128"/>
            <ac:picMk id="14" creationId="{3F3CC948-BDCC-4A26-8CC3-2E784E5CABD3}"/>
          </ac:picMkLst>
        </pc:picChg>
      </pc:sldChg>
    </pc:docChg>
  </pc:docChgLst>
  <pc:docChgLst>
    <pc:chgData name="Yijun Ma (DCP)" userId="6b140692-16f7-4f54-a783-028f16aab7b0" providerId="ADAL" clId="{4D55265E-289C-4D67-8B5C-794374C52104}"/>
    <pc:docChg chg="undo custSel modSld">
      <pc:chgData name="Yijun Ma (DCP)" userId="6b140692-16f7-4f54-a783-028f16aab7b0" providerId="ADAL" clId="{4D55265E-289C-4D67-8B5C-794374C52104}" dt="2020-07-13T18:09:46.614" v="146" actId="14100"/>
      <pc:docMkLst>
        <pc:docMk/>
      </pc:docMkLst>
      <pc:sldChg chg="addSp delSp modSp modNotesTx">
        <pc:chgData name="Yijun Ma (DCP)" userId="6b140692-16f7-4f54-a783-028f16aab7b0" providerId="ADAL" clId="{4D55265E-289C-4D67-8B5C-794374C52104}" dt="2020-07-13T18:09:32.147" v="136" actId="20577"/>
        <pc:sldMkLst>
          <pc:docMk/>
          <pc:sldMk cId="2415737977" sldId="1063"/>
        </pc:sldMkLst>
        <pc:spChg chg="del">
          <ac:chgData name="Yijun Ma (DCP)" userId="6b140692-16f7-4f54-a783-028f16aab7b0" providerId="ADAL" clId="{4D55265E-289C-4D67-8B5C-794374C52104}" dt="2020-07-13T17:45:05.852" v="93" actId="478"/>
          <ac:spMkLst>
            <pc:docMk/>
            <pc:sldMk cId="2415737977" sldId="1063"/>
            <ac:spMk id="14" creationId="{A9C5FD1A-DC2B-420E-9F56-72CD499CBC5E}"/>
          </ac:spMkLst>
        </pc:spChg>
        <pc:spChg chg="mod">
          <ac:chgData name="Yijun Ma (DCP)" userId="6b140692-16f7-4f54-a783-028f16aab7b0" providerId="ADAL" clId="{4D55265E-289C-4D67-8B5C-794374C52104}" dt="2020-07-13T18:09:32.147" v="136" actId="20577"/>
          <ac:spMkLst>
            <pc:docMk/>
            <pc:sldMk cId="2415737977" sldId="1063"/>
            <ac:spMk id="20" creationId="{F5A93634-EFB0-4F1D-8EB9-1AD5FF7384D9}"/>
          </ac:spMkLst>
        </pc:spChg>
        <pc:picChg chg="add mod ord">
          <ac:chgData name="Yijun Ma (DCP)" userId="6b140692-16f7-4f54-a783-028f16aab7b0" providerId="ADAL" clId="{4D55265E-289C-4D67-8B5C-794374C52104}" dt="2020-07-13T17:41:45.788" v="72" actId="167"/>
          <ac:picMkLst>
            <pc:docMk/>
            <pc:sldMk cId="2415737977" sldId="1063"/>
            <ac:picMk id="3" creationId="{46F7ECCE-56B7-49D1-8275-145BAF447F8F}"/>
          </ac:picMkLst>
        </pc:picChg>
        <pc:picChg chg="add del mod">
          <ac:chgData name="Yijun Ma (DCP)" userId="6b140692-16f7-4f54-a783-028f16aab7b0" providerId="ADAL" clId="{4D55265E-289C-4D67-8B5C-794374C52104}" dt="2020-07-13T17:42:08.485" v="76" actId="478"/>
          <ac:picMkLst>
            <pc:docMk/>
            <pc:sldMk cId="2415737977" sldId="1063"/>
            <ac:picMk id="5" creationId="{B2C1612D-7AB5-4DAA-9B5B-88BB41E3770E}"/>
          </ac:picMkLst>
        </pc:picChg>
        <pc:picChg chg="add mod">
          <ac:chgData name="Yijun Ma (DCP)" userId="6b140692-16f7-4f54-a783-028f16aab7b0" providerId="ADAL" clId="{4D55265E-289C-4D67-8B5C-794374C52104}" dt="2020-07-13T17:45:04.274" v="92" actId="14100"/>
          <ac:picMkLst>
            <pc:docMk/>
            <pc:sldMk cId="2415737977" sldId="1063"/>
            <ac:picMk id="6" creationId="{E2D3134C-C817-4D4A-BE8F-60DF081FF228}"/>
          </ac:picMkLst>
        </pc:picChg>
        <pc:picChg chg="add mod ord">
          <ac:chgData name="Yijun Ma (DCP)" userId="6b140692-16f7-4f54-a783-028f16aab7b0" providerId="ADAL" clId="{4D55265E-289C-4D67-8B5C-794374C52104}" dt="2020-07-13T17:44:41.708" v="86" actId="167"/>
          <ac:picMkLst>
            <pc:docMk/>
            <pc:sldMk cId="2415737977" sldId="1063"/>
            <ac:picMk id="8" creationId="{6669AD7C-4E8F-4097-A751-6EFC8967C75B}"/>
          </ac:picMkLst>
        </pc:picChg>
        <pc:picChg chg="add mod">
          <ac:chgData name="Yijun Ma (DCP)" userId="6b140692-16f7-4f54-a783-028f16aab7b0" providerId="ADAL" clId="{4D55265E-289C-4D67-8B5C-794374C52104}" dt="2020-07-13T17:45:01.097" v="91" actId="14100"/>
          <ac:picMkLst>
            <pc:docMk/>
            <pc:sldMk cId="2415737977" sldId="1063"/>
            <ac:picMk id="9" creationId="{3111B757-094F-4F15-BF40-945D70522CCF}"/>
          </ac:picMkLst>
        </pc:picChg>
        <pc:picChg chg="del">
          <ac:chgData name="Yijun Ma (DCP)" userId="6b140692-16f7-4f54-a783-028f16aab7b0" providerId="ADAL" clId="{4D55265E-289C-4D67-8B5C-794374C52104}" dt="2020-07-13T17:41:47.140" v="73" actId="478"/>
          <ac:picMkLst>
            <pc:docMk/>
            <pc:sldMk cId="2415737977" sldId="1063"/>
            <ac:picMk id="10" creationId="{9D0F3B9B-7E64-4A37-B7BD-C2C2B21A5EDE}"/>
          </ac:picMkLst>
        </pc:picChg>
        <pc:picChg chg="del mod">
          <ac:chgData name="Yijun Ma (DCP)" userId="6b140692-16f7-4f54-a783-028f16aab7b0" providerId="ADAL" clId="{4D55265E-289C-4D67-8B5C-794374C52104}" dt="2020-07-13T17:42:10.085" v="78" actId="478"/>
          <ac:picMkLst>
            <pc:docMk/>
            <pc:sldMk cId="2415737977" sldId="1063"/>
            <ac:picMk id="11" creationId="{4EB870FF-1717-46F5-A6C4-DECBA44C6DB3}"/>
          </ac:picMkLst>
        </pc:picChg>
        <pc:picChg chg="del">
          <ac:chgData name="Yijun Ma (DCP)" userId="6b140692-16f7-4f54-a783-028f16aab7b0" providerId="ADAL" clId="{4D55265E-289C-4D67-8B5C-794374C52104}" dt="2020-07-13T17:44:42.837" v="87" actId="478"/>
          <ac:picMkLst>
            <pc:docMk/>
            <pc:sldMk cId="2415737977" sldId="1063"/>
            <ac:picMk id="12" creationId="{BEE84710-DEC0-43BF-8B2C-08236D6C65EA}"/>
          </ac:picMkLst>
        </pc:picChg>
        <pc:picChg chg="del">
          <ac:chgData name="Yijun Ma (DCP)" userId="6b140692-16f7-4f54-a783-028f16aab7b0" providerId="ADAL" clId="{4D55265E-289C-4D67-8B5C-794374C52104}" dt="2020-07-13T17:44:53.124" v="89" actId="478"/>
          <ac:picMkLst>
            <pc:docMk/>
            <pc:sldMk cId="2415737977" sldId="1063"/>
            <ac:picMk id="13" creationId="{8A05BC2E-3CD3-4795-876A-D0ADB81C07A0}"/>
          </ac:picMkLst>
        </pc:picChg>
      </pc:sldChg>
    </pc:docChg>
  </pc:docChgLst>
  <pc:docChgLst>
    <pc:chgData clId="Web-{0A59D77E-5FE1-E8B4-D784-02D0D5717D6D}"/>
    <pc:docChg chg="modSld">
      <pc:chgData name="" userId="" providerId="" clId="Web-{0A59D77E-5FE1-E8B4-D784-02D0D5717D6D}" dt="2020-07-14T16:56:22.659" v="36" actId="20577"/>
      <pc:docMkLst>
        <pc:docMk/>
      </pc:docMkLst>
      <pc:sldChg chg="modSp">
        <pc:chgData name="" userId="" providerId="" clId="Web-{0A59D77E-5FE1-E8B4-D784-02D0D5717D6D}" dt="2020-07-14T16:56:22.659" v="35" actId="20577"/>
        <pc:sldMkLst>
          <pc:docMk/>
          <pc:sldMk cId="3893609620" sldId="945"/>
        </pc:sldMkLst>
        <pc:spChg chg="mod">
          <ac:chgData name="" userId="" providerId="" clId="Web-{0A59D77E-5FE1-E8B4-D784-02D0D5717D6D}" dt="2020-07-14T16:56:22.659" v="35" actId="20577"/>
          <ac:spMkLst>
            <pc:docMk/>
            <pc:sldMk cId="3893609620" sldId="945"/>
            <ac:spMk id="18" creationId="{4B400C07-9027-4C73-9C4E-038FC4557A14}"/>
          </ac:spMkLst>
        </pc:spChg>
        <pc:spChg chg="mod">
          <ac:chgData name="" userId="" providerId="" clId="Web-{0A59D77E-5FE1-E8B4-D784-02D0D5717D6D}" dt="2020-07-14T16:55:48.891" v="6" actId="20577"/>
          <ac:spMkLst>
            <pc:docMk/>
            <pc:sldMk cId="3893609620" sldId="945"/>
            <ac:spMk id="36" creationId="{91785D03-5D68-4D25-862A-E3F2301EBE56}"/>
          </ac:spMkLst>
        </pc:spChg>
      </pc:sldChg>
    </pc:docChg>
  </pc:docChgLst>
  <pc:docChgLst>
    <pc:chgData name="Le Zhang (DCP)" userId="4093b8df-c45f-452e-86ba-4cdd8d4ea262" providerId="ADAL" clId="{FD3E7724-503B-45EF-A667-6F12C413F359}"/>
    <pc:docChg chg="modSld modMainMaster">
      <pc:chgData name="Le Zhang (DCP)" userId="4093b8df-c45f-452e-86ba-4cdd8d4ea262" providerId="ADAL" clId="{FD3E7724-503B-45EF-A667-6F12C413F359}" dt="2020-07-28T17:10:04.586" v="175" actId="14838"/>
      <pc:docMkLst>
        <pc:docMk/>
      </pc:docMkLst>
      <pc:sldChg chg="modSp">
        <pc:chgData name="Le Zhang (DCP)" userId="4093b8df-c45f-452e-86ba-4cdd8d4ea262" providerId="ADAL" clId="{FD3E7724-503B-45EF-A667-6F12C413F359}" dt="2020-07-23T01:04:25.376" v="2" actId="20577"/>
        <pc:sldMkLst>
          <pc:docMk/>
          <pc:sldMk cId="866642221" sldId="604"/>
        </pc:sldMkLst>
        <pc:spChg chg="mod">
          <ac:chgData name="Le Zhang (DCP)" userId="4093b8df-c45f-452e-86ba-4cdd8d4ea262" providerId="ADAL" clId="{FD3E7724-503B-45EF-A667-6F12C413F359}" dt="2020-07-23T01:04:25.376" v="2" actId="20577"/>
          <ac:spMkLst>
            <pc:docMk/>
            <pc:sldMk cId="866642221" sldId="604"/>
            <ac:spMk id="4" creationId="{00000000-0000-0000-0000-000000000000}"/>
          </ac:spMkLst>
        </pc:spChg>
      </pc:sldChg>
      <pc:sldChg chg="addSp delSp modSp mod">
        <pc:chgData name="Le Zhang (DCP)" userId="4093b8df-c45f-452e-86ba-4cdd8d4ea262" providerId="ADAL" clId="{FD3E7724-503B-45EF-A667-6F12C413F359}" dt="2020-07-28T17:10:04.586" v="175" actId="14838"/>
        <pc:sldMkLst>
          <pc:docMk/>
          <pc:sldMk cId="3893609620" sldId="945"/>
        </pc:sldMkLst>
        <pc:spChg chg="mod">
          <ac:chgData name="Le Zhang (DCP)" userId="4093b8df-c45f-452e-86ba-4cdd8d4ea262" providerId="ADAL" clId="{FD3E7724-503B-45EF-A667-6F12C413F359}" dt="2020-07-28T16:58:47.670" v="103" actId="1076"/>
          <ac:spMkLst>
            <pc:docMk/>
            <pc:sldMk cId="3893609620" sldId="945"/>
            <ac:spMk id="28" creationId="{071B3585-A2EB-4CA5-BF0A-C2E9A742FB9E}"/>
          </ac:spMkLst>
        </pc:spChg>
        <pc:spChg chg="mod">
          <ac:chgData name="Le Zhang (DCP)" userId="4093b8df-c45f-452e-86ba-4cdd8d4ea262" providerId="ADAL" clId="{FD3E7724-503B-45EF-A667-6F12C413F359}" dt="2020-07-28T16:58:37.576" v="100" actId="1037"/>
          <ac:spMkLst>
            <pc:docMk/>
            <pc:sldMk cId="3893609620" sldId="945"/>
            <ac:spMk id="30" creationId="{94EFE761-FD16-48E0-933F-AD68746AB657}"/>
          </ac:spMkLst>
        </pc:spChg>
        <pc:spChg chg="mod">
          <ac:chgData name="Le Zhang (DCP)" userId="4093b8df-c45f-452e-86ba-4cdd8d4ea262" providerId="ADAL" clId="{FD3E7724-503B-45EF-A667-6F12C413F359}" dt="2020-07-28T16:58:30.178" v="92" actId="1037"/>
          <ac:spMkLst>
            <pc:docMk/>
            <pc:sldMk cId="3893609620" sldId="945"/>
            <ac:spMk id="31" creationId="{0BF07143-E56E-40FA-9849-54DC7832BB78}"/>
          </ac:spMkLst>
        </pc:spChg>
        <pc:spChg chg="mod">
          <ac:chgData name="Le Zhang (DCP)" userId="4093b8df-c45f-452e-86ba-4cdd8d4ea262" providerId="ADAL" clId="{FD3E7724-503B-45EF-A667-6F12C413F359}" dt="2020-07-28T16:58:34.586" v="98" actId="1037"/>
          <ac:spMkLst>
            <pc:docMk/>
            <pc:sldMk cId="3893609620" sldId="945"/>
            <ac:spMk id="32" creationId="{4A9D15F8-3390-45AE-BEF1-6CD30E8208A6}"/>
          </ac:spMkLst>
        </pc:spChg>
        <pc:spChg chg="mod">
          <ac:chgData name="Le Zhang (DCP)" userId="4093b8df-c45f-452e-86ba-4cdd8d4ea262" providerId="ADAL" clId="{FD3E7724-503B-45EF-A667-6F12C413F359}" dt="2020-07-28T16:58:15.229" v="60" actId="1037"/>
          <ac:spMkLst>
            <pc:docMk/>
            <pc:sldMk cId="3893609620" sldId="945"/>
            <ac:spMk id="33" creationId="{6940218C-8629-4C01-8501-CC380A5F2E2B}"/>
          </ac:spMkLst>
        </pc:spChg>
        <pc:spChg chg="mod">
          <ac:chgData name="Le Zhang (DCP)" userId="4093b8df-c45f-452e-86ba-4cdd8d4ea262" providerId="ADAL" clId="{FD3E7724-503B-45EF-A667-6F12C413F359}" dt="2020-07-28T16:58:19.658" v="67" actId="1037"/>
          <ac:spMkLst>
            <pc:docMk/>
            <pc:sldMk cId="3893609620" sldId="945"/>
            <ac:spMk id="34" creationId="{EB37EFAB-7DC3-4863-959A-C09E68B63594}"/>
          </ac:spMkLst>
        </pc:spChg>
        <pc:spChg chg="mod">
          <ac:chgData name="Le Zhang (DCP)" userId="4093b8df-c45f-452e-86ba-4cdd8d4ea262" providerId="ADAL" clId="{FD3E7724-503B-45EF-A667-6F12C413F359}" dt="2020-07-28T16:58:43.024" v="102" actId="1037"/>
          <ac:spMkLst>
            <pc:docMk/>
            <pc:sldMk cId="3893609620" sldId="945"/>
            <ac:spMk id="35" creationId="{4C2FC8C1-9DF4-40FB-89A2-1816329ABBD9}"/>
          </ac:spMkLst>
        </pc:spChg>
        <pc:spChg chg="add mod">
          <ac:chgData name="Le Zhang (DCP)" userId="4093b8df-c45f-452e-86ba-4cdd8d4ea262" providerId="ADAL" clId="{FD3E7724-503B-45EF-A667-6F12C413F359}" dt="2020-07-28T16:56:33.316" v="36" actId="571"/>
          <ac:spMkLst>
            <pc:docMk/>
            <pc:sldMk cId="3893609620" sldId="945"/>
            <ac:spMk id="36" creationId="{FABEE6F8-13E4-42A1-B577-9FE4EDDE24EA}"/>
          </ac:spMkLst>
        </pc:spChg>
        <pc:spChg chg="mod">
          <ac:chgData name="Le Zhang (DCP)" userId="4093b8df-c45f-452e-86ba-4cdd8d4ea262" providerId="ADAL" clId="{FD3E7724-503B-45EF-A667-6F12C413F359}" dt="2020-07-28T17:02:13.195" v="174" actId="1076"/>
          <ac:spMkLst>
            <pc:docMk/>
            <pc:sldMk cId="3893609620" sldId="945"/>
            <ac:spMk id="40" creationId="{95D0B7F4-4459-46DD-A8FF-43125A0CC4B3}"/>
          </ac:spMkLst>
        </pc:spChg>
        <pc:spChg chg="mod">
          <ac:chgData name="Le Zhang (DCP)" userId="4093b8df-c45f-452e-86ba-4cdd8d4ea262" providerId="ADAL" clId="{FD3E7724-503B-45EF-A667-6F12C413F359}" dt="2020-07-28T16:59:48.609" v="126" actId="20577"/>
          <ac:spMkLst>
            <pc:docMk/>
            <pc:sldMk cId="3893609620" sldId="945"/>
            <ac:spMk id="46" creationId="{D7B7A9D9-72DC-4C15-A101-5CF60024CF42}"/>
          </ac:spMkLst>
        </pc:spChg>
        <pc:spChg chg="mod">
          <ac:chgData name="Le Zhang (DCP)" userId="4093b8df-c45f-452e-86ba-4cdd8d4ea262" providerId="ADAL" clId="{FD3E7724-503B-45EF-A667-6F12C413F359}" dt="2020-07-28T16:58:08.987" v="49" actId="1038"/>
          <ac:spMkLst>
            <pc:docMk/>
            <pc:sldMk cId="3893609620" sldId="945"/>
            <ac:spMk id="48" creationId="{F1DD7476-BCD6-4063-840E-32EA2BC5AD01}"/>
          </ac:spMkLst>
        </pc:spChg>
        <pc:grpChg chg="add mod">
          <ac:chgData name="Le Zhang (DCP)" userId="4093b8df-c45f-452e-86ba-4cdd8d4ea262" providerId="ADAL" clId="{FD3E7724-503B-45EF-A667-6F12C413F359}" dt="2020-07-28T17:01:43.402" v="152" actId="1035"/>
          <ac:grpSpMkLst>
            <pc:docMk/>
            <pc:sldMk cId="3893609620" sldId="945"/>
            <ac:grpSpMk id="3" creationId="{887DC773-55F1-4473-9B31-7F07D553A240}"/>
          </ac:grpSpMkLst>
        </pc:grpChg>
        <pc:grpChg chg="mod ord">
          <ac:chgData name="Le Zhang (DCP)" userId="4093b8df-c45f-452e-86ba-4cdd8d4ea262" providerId="ADAL" clId="{FD3E7724-503B-45EF-A667-6F12C413F359}" dt="2020-07-28T17:01:39.052" v="151" actId="166"/>
          <ac:grpSpMkLst>
            <pc:docMk/>
            <pc:sldMk cId="3893609620" sldId="945"/>
            <ac:grpSpMk id="14" creationId="{51D7E514-97F9-4E49-8257-3A7C5D002E4B}"/>
          </ac:grpSpMkLst>
        </pc:grpChg>
        <pc:grpChg chg="mod ord">
          <ac:chgData name="Le Zhang (DCP)" userId="4093b8df-c45f-452e-86ba-4cdd8d4ea262" providerId="ADAL" clId="{FD3E7724-503B-45EF-A667-6F12C413F359}" dt="2020-07-28T17:02:05.229" v="173" actId="166"/>
          <ac:grpSpMkLst>
            <pc:docMk/>
            <pc:sldMk cId="3893609620" sldId="945"/>
            <ac:grpSpMk id="21" creationId="{D731847C-4DBE-4AE5-B7E7-BC7A44AC83FE}"/>
          </ac:grpSpMkLst>
        </pc:grpChg>
        <pc:grpChg chg="mod">
          <ac:chgData name="Le Zhang (DCP)" userId="4093b8df-c45f-452e-86ba-4cdd8d4ea262" providerId="ADAL" clId="{FD3E7724-503B-45EF-A667-6F12C413F359}" dt="2020-07-28T16:57:58.800" v="43" actId="164"/>
          <ac:grpSpMkLst>
            <pc:docMk/>
            <pc:sldMk cId="3893609620" sldId="945"/>
            <ac:grpSpMk id="25" creationId="{5BABA797-0DCD-4E58-9609-E0B0D33B5F04}"/>
          </ac:grpSpMkLst>
        </pc:grpChg>
        <pc:grpChg chg="mod">
          <ac:chgData name="Le Zhang (DCP)" userId="4093b8df-c45f-452e-86ba-4cdd8d4ea262" providerId="ADAL" clId="{FD3E7724-503B-45EF-A667-6F12C413F359}" dt="2020-07-28T16:56:33.316" v="36" actId="571"/>
          <ac:grpSpMkLst>
            <pc:docMk/>
            <pc:sldMk cId="3893609620" sldId="945"/>
            <ac:grpSpMk id="27" creationId="{3795B927-32AF-48BE-8D06-B3FA72EA010A}"/>
          </ac:grpSpMkLst>
        </pc:grpChg>
        <pc:grpChg chg="mod">
          <ac:chgData name="Le Zhang (DCP)" userId="4093b8df-c45f-452e-86ba-4cdd8d4ea262" providerId="ADAL" clId="{FD3E7724-503B-45EF-A667-6F12C413F359}" dt="2020-07-28T16:56:09.680" v="25"/>
          <ac:grpSpMkLst>
            <pc:docMk/>
            <pc:sldMk cId="3893609620" sldId="945"/>
            <ac:grpSpMk id="38" creationId="{A148A6BF-0FCB-402E-92DF-B905255AB259}"/>
          </ac:grpSpMkLst>
        </pc:grpChg>
        <pc:graphicFrameChg chg="add mod">
          <ac:chgData name="Le Zhang (DCP)" userId="4093b8df-c45f-452e-86ba-4cdd8d4ea262" providerId="ADAL" clId="{FD3E7724-503B-45EF-A667-6F12C413F359}" dt="2020-07-28T16:57:39.272" v="39" actId="14100"/>
          <ac:graphicFrameMkLst>
            <pc:docMk/>
            <pc:sldMk cId="3893609620" sldId="945"/>
            <ac:graphicFrameMk id="29" creationId="{B5C1112F-4DEC-4BBF-B66C-BD9D7E491B5B}"/>
          </ac:graphicFrameMkLst>
        </pc:graphicFrameChg>
        <pc:graphicFrameChg chg="del">
          <ac:chgData name="Le Zhang (DCP)" userId="4093b8df-c45f-452e-86ba-4cdd8d4ea262" providerId="ADAL" clId="{FD3E7724-503B-45EF-A667-6F12C413F359}" dt="2020-07-28T16:53:01.471" v="3" actId="478"/>
          <ac:graphicFrameMkLst>
            <pc:docMk/>
            <pc:sldMk cId="3893609620" sldId="945"/>
            <ac:graphicFrameMk id="37" creationId="{B5C1112F-4DEC-4BBF-B66C-BD9D7E491B5B}"/>
          </ac:graphicFrameMkLst>
        </pc:graphicFrameChg>
        <pc:graphicFrameChg chg="del">
          <ac:chgData name="Le Zhang (DCP)" userId="4093b8df-c45f-452e-86ba-4cdd8d4ea262" providerId="ADAL" clId="{FD3E7724-503B-45EF-A667-6F12C413F359}" dt="2020-07-28T17:01:02.124" v="131" actId="478"/>
          <ac:graphicFrameMkLst>
            <pc:docMk/>
            <pc:sldMk cId="3893609620" sldId="945"/>
            <ac:graphicFrameMk id="41" creationId="{A0807E5F-4857-4EC3-B4F6-C9AE10D6552D}"/>
          </ac:graphicFrameMkLst>
        </pc:graphicFrameChg>
        <pc:graphicFrameChg chg="del mod">
          <ac:chgData name="Le Zhang (DCP)" userId="4093b8df-c45f-452e-86ba-4cdd8d4ea262" providerId="ADAL" clId="{FD3E7724-503B-45EF-A667-6F12C413F359}" dt="2020-07-28T16:59:10.686" v="104" actId="478"/>
          <ac:graphicFrameMkLst>
            <pc:docMk/>
            <pc:sldMk cId="3893609620" sldId="945"/>
            <ac:graphicFrameMk id="42" creationId="{2E12B5D4-5FBB-4BBA-89AE-CFDCF53A63B5}"/>
          </ac:graphicFrameMkLst>
        </pc:graphicFrameChg>
        <pc:graphicFrameChg chg="add mod">
          <ac:chgData name="Le Zhang (DCP)" userId="4093b8df-c45f-452e-86ba-4cdd8d4ea262" providerId="ADAL" clId="{FD3E7724-503B-45EF-A667-6F12C413F359}" dt="2020-07-28T17:00:14.783" v="130"/>
          <ac:graphicFrameMkLst>
            <pc:docMk/>
            <pc:sldMk cId="3893609620" sldId="945"/>
            <ac:graphicFrameMk id="43" creationId="{2E12B5D4-5FBB-4BBA-89AE-CFDCF53A63B5}"/>
          </ac:graphicFrameMkLst>
        </pc:graphicFrameChg>
        <pc:graphicFrameChg chg="add mod">
          <ac:chgData name="Le Zhang (DCP)" userId="4093b8df-c45f-452e-86ba-4cdd8d4ea262" providerId="ADAL" clId="{FD3E7724-503B-45EF-A667-6F12C413F359}" dt="2020-07-28T17:10:04.586" v="175" actId="14838"/>
          <ac:graphicFrameMkLst>
            <pc:docMk/>
            <pc:sldMk cId="3893609620" sldId="945"/>
            <ac:graphicFrameMk id="44" creationId="{A0807E5F-4857-4EC3-B4F6-C9AE10D6552D}"/>
          </ac:graphicFrameMkLst>
        </pc:graphicFrameChg>
      </pc:sldChg>
      <pc:sldMasterChg chg="modSp">
        <pc:chgData name="Le Zhang (DCP)" userId="4093b8df-c45f-452e-86ba-4cdd8d4ea262" providerId="ADAL" clId="{FD3E7724-503B-45EF-A667-6F12C413F359}" dt="2020-07-23T01:04:19.916" v="0" actId="20577"/>
        <pc:sldMasterMkLst>
          <pc:docMk/>
          <pc:sldMasterMk cId="0" sldId="2147483660"/>
        </pc:sldMasterMkLst>
        <pc:spChg chg="mod">
          <ac:chgData name="Le Zhang (DCP)" userId="4093b8df-c45f-452e-86ba-4cdd8d4ea262" providerId="ADAL" clId="{FD3E7724-503B-45EF-A667-6F12C413F359}" dt="2020-07-23T01:04:19.916" v="0" actId="20577"/>
          <ac:spMkLst>
            <pc:docMk/>
            <pc:sldMasterMk cId="0" sldId="2147483660"/>
            <ac:spMk id="8" creationId="{892C32C2-73D7-45DA-8755-2A0C4259CF1E}"/>
          </ac:spMkLst>
        </pc:spChg>
      </pc:sldMasterChg>
    </pc:docChg>
  </pc:docChgLst>
  <pc:docChgLst>
    <pc:chgData clId="Web-{007B8099-E505-21A5-B169-21DD8E01988D}"/>
    <pc:docChg chg="modSld">
      <pc:chgData name="" userId="" providerId="" clId="Web-{007B8099-E505-21A5-B169-21DD8E01988D}" dt="2020-08-04T21:47:11.759" v="79"/>
      <pc:docMkLst>
        <pc:docMk/>
      </pc:docMkLst>
      <pc:sldChg chg="addCm">
        <pc:chgData name="" userId="" providerId="" clId="Web-{007B8099-E505-21A5-B169-21DD8E01988D}" dt="2020-08-04T21:18:09.729" v="21"/>
        <pc:sldMkLst>
          <pc:docMk/>
          <pc:sldMk cId="1519931681" sldId="923"/>
        </pc:sldMkLst>
      </pc:sldChg>
      <pc:sldChg chg="addCm">
        <pc:chgData name="" userId="" providerId="" clId="Web-{007B8099-E505-21A5-B169-21DD8E01988D}" dt="2020-08-04T21:23:20.845" v="27"/>
        <pc:sldMkLst>
          <pc:docMk/>
          <pc:sldMk cId="1905173972" sldId="1021"/>
        </pc:sldMkLst>
      </pc:sldChg>
      <pc:sldChg chg="addCm">
        <pc:chgData name="" userId="" providerId="" clId="Web-{007B8099-E505-21A5-B169-21DD8E01988D}" dt="2020-08-04T21:22:00.542" v="26"/>
        <pc:sldMkLst>
          <pc:docMk/>
          <pc:sldMk cId="828195153" sldId="1043"/>
        </pc:sldMkLst>
      </pc:sldChg>
      <pc:sldChg chg="modSp addCm">
        <pc:chgData name="" userId="" providerId="" clId="Web-{007B8099-E505-21A5-B169-21DD8E01988D}" dt="2020-08-04T21:19:51.408" v="25" actId="20577"/>
        <pc:sldMkLst>
          <pc:docMk/>
          <pc:sldMk cId="520716004" sldId="1058"/>
        </pc:sldMkLst>
        <pc:spChg chg="mod">
          <ac:chgData name="" userId="" providerId="" clId="Web-{007B8099-E505-21A5-B169-21DD8E01988D}" dt="2020-08-04T21:19:51.408" v="25" actId="20577"/>
          <ac:spMkLst>
            <pc:docMk/>
            <pc:sldMk cId="520716004" sldId="1058"/>
            <ac:spMk id="9" creationId="{BF15CC37-17A3-48B8-8AF4-369FA726998B}"/>
          </ac:spMkLst>
        </pc:spChg>
      </pc:sldChg>
      <pc:sldChg chg="modSp addCm">
        <pc:chgData name="" userId="" providerId="" clId="Web-{007B8099-E505-21A5-B169-21DD8E01988D}" dt="2020-08-04T21:15:47.813" v="19" actId="20577"/>
        <pc:sldMkLst>
          <pc:docMk/>
          <pc:sldMk cId="2318289709" sldId="1119"/>
        </pc:sldMkLst>
        <pc:spChg chg="mod">
          <ac:chgData name="" userId="" providerId="" clId="Web-{007B8099-E505-21A5-B169-21DD8E01988D}" dt="2020-08-04T21:15:47.813" v="19" actId="20577"/>
          <ac:spMkLst>
            <pc:docMk/>
            <pc:sldMk cId="2318289709" sldId="1119"/>
            <ac:spMk id="6" creationId="{6112D5FE-E18B-6A43-BA78-7662CB7AF3D1}"/>
          </ac:spMkLst>
        </pc:spChg>
      </pc:sldChg>
      <pc:sldChg chg="modSp addCm">
        <pc:chgData name="" userId="" providerId="" clId="Web-{007B8099-E505-21A5-B169-21DD8E01988D}" dt="2020-08-04T21:47:11.759" v="79"/>
        <pc:sldMkLst>
          <pc:docMk/>
          <pc:sldMk cId="368308764" sldId="1135"/>
        </pc:sldMkLst>
        <pc:spChg chg="mod">
          <ac:chgData name="" userId="" providerId="" clId="Web-{007B8099-E505-21A5-B169-21DD8E01988D}" dt="2020-08-04T21:35:18.756" v="77" actId="20577"/>
          <ac:spMkLst>
            <pc:docMk/>
            <pc:sldMk cId="368308764" sldId="1135"/>
            <ac:spMk id="3" creationId="{554134B2-6DC5-4143-826F-00BE0EBC83C7}"/>
          </ac:spMkLst>
        </pc:spChg>
        <pc:spChg chg="mod">
          <ac:chgData name="" userId="" providerId="" clId="Web-{007B8099-E505-21A5-B169-21DD8E01988D}" dt="2020-08-04T21:29:57.559" v="66" actId="20577"/>
          <ac:spMkLst>
            <pc:docMk/>
            <pc:sldMk cId="368308764" sldId="1135"/>
            <ac:spMk id="34" creationId="{B26EC0C9-DC49-4C0E-A8C1-930B5928B53F}"/>
          </ac:spMkLst>
        </pc:spChg>
      </pc:sldChg>
      <pc:sldChg chg="addCm">
        <pc:chgData name="" userId="" providerId="" clId="Web-{007B8099-E505-21A5-B169-21DD8E01988D}" dt="2020-08-04T21:27:33.674" v="29"/>
        <pc:sldMkLst>
          <pc:docMk/>
          <pc:sldMk cId="687598378" sldId="1138"/>
        </pc:sldMkLst>
      </pc:sldChg>
    </pc:docChg>
  </pc:docChgLst>
  <pc:docChgLst>
    <pc:chgData clId="Web-{32CC07A5-3AA1-7A38-50C0-68CFE1457306}"/>
    <pc:docChg chg="modSld">
      <pc:chgData name="" userId="" providerId="" clId="Web-{32CC07A5-3AA1-7A38-50C0-68CFE1457306}" dt="2020-07-27T15:17:09.601" v="81" actId="14100"/>
      <pc:docMkLst>
        <pc:docMk/>
      </pc:docMkLst>
      <pc:sldChg chg="addSp modSp">
        <pc:chgData name="" userId="" providerId="" clId="Web-{32CC07A5-3AA1-7A38-50C0-68CFE1457306}" dt="2020-07-27T15:17:09.601" v="81" actId="14100"/>
        <pc:sldMkLst>
          <pc:docMk/>
          <pc:sldMk cId="2415737977" sldId="1063"/>
        </pc:sldMkLst>
        <pc:spChg chg="add mod">
          <ac:chgData name="" userId="" providerId="" clId="Web-{32CC07A5-3AA1-7A38-50C0-68CFE1457306}" dt="2020-07-27T15:17:09.601" v="81" actId="14100"/>
          <ac:spMkLst>
            <pc:docMk/>
            <pc:sldMk cId="2415737977" sldId="1063"/>
            <ac:spMk id="3" creationId="{FCF75022-195B-4E28-A702-EB7B1EFF38DB}"/>
          </ac:spMkLst>
        </pc:spChg>
      </pc:sldChg>
    </pc:docChg>
  </pc:docChgLst>
  <pc:docChgLst>
    <pc:chgData clId="Web-{60CA3816-ACC7-D6CD-7D8C-6D27613DAFF6}"/>
    <pc:docChg chg="">
      <pc:chgData name="" userId="" providerId="" clId="Web-{60CA3816-ACC7-D6CD-7D8C-6D27613DAFF6}" dt="2020-07-28T22:01:59.861" v="1"/>
      <pc:docMkLst>
        <pc:docMk/>
      </pc:docMkLst>
      <pc:sldChg chg="addCm">
        <pc:chgData name="" userId="" providerId="" clId="Web-{60CA3816-ACC7-D6CD-7D8C-6D27613DAFF6}" dt="2020-07-28T20:58:06.406" v="0"/>
        <pc:sldMkLst>
          <pc:docMk/>
          <pc:sldMk cId="3893609620" sldId="945"/>
        </pc:sldMkLst>
      </pc:sldChg>
      <pc:sldChg chg="addCm">
        <pc:chgData name="" userId="" providerId="" clId="Web-{60CA3816-ACC7-D6CD-7D8C-6D27613DAFF6}" dt="2020-07-28T22:01:59.861" v="1"/>
        <pc:sldMkLst>
          <pc:docMk/>
          <pc:sldMk cId="520716004" sldId="1058"/>
        </pc:sldMkLst>
      </pc:sldChg>
    </pc:docChg>
  </pc:docChgLst>
  <pc:docChgLst>
    <pc:chgData clId="Web-{1BF4F7AB-E9DF-1487-B791-07228326BEC7}"/>
    <pc:docChg chg="">
      <pc:chgData name="" userId="" providerId="" clId="Web-{1BF4F7AB-E9DF-1487-B791-07228326BEC7}" dt="2020-07-14T16:12:57.410" v="1"/>
      <pc:docMkLst>
        <pc:docMk/>
      </pc:docMkLst>
    </pc:docChg>
  </pc:docChgLst>
  <pc:docChgLst>
    <pc:chgData clId="Web-{C133DC37-8F82-7279-893B-55294CD70A66}"/>
    <pc:docChg chg="">
      <pc:chgData name="" userId="" providerId="" clId="Web-{C133DC37-8F82-7279-893B-55294CD70A66}" dt="2020-07-21T19:16:11.803" v="12"/>
      <pc:docMkLst>
        <pc:docMk/>
      </pc:docMkLst>
      <pc:sldChg chg="addCm">
        <pc:chgData name="" userId="" providerId="" clId="Web-{C133DC37-8F82-7279-893B-55294CD70A66}" dt="2020-07-21T18:59:12.391" v="4"/>
        <pc:sldMkLst>
          <pc:docMk/>
          <pc:sldMk cId="1155418492" sldId="1026"/>
        </pc:sldMkLst>
      </pc:sldChg>
      <pc:sldChg chg="addCm delCm">
        <pc:chgData name="" userId="" providerId="" clId="Web-{C133DC37-8F82-7279-893B-55294CD70A66}" dt="2020-07-21T18:58:15.329" v="3"/>
        <pc:sldMkLst>
          <pc:docMk/>
          <pc:sldMk cId="1049441131" sldId="1040"/>
        </pc:sldMkLst>
      </pc:sldChg>
      <pc:sldChg chg="addCm">
        <pc:chgData name="" userId="" providerId="" clId="Web-{C133DC37-8F82-7279-893B-55294CD70A66}" dt="2020-07-21T19:03:28.533" v="6"/>
        <pc:sldMkLst>
          <pc:docMk/>
          <pc:sldMk cId="2535481493" sldId="1116"/>
        </pc:sldMkLst>
      </pc:sldChg>
      <pc:sldChg chg="addCm">
        <pc:chgData name="" userId="" providerId="" clId="Web-{C133DC37-8F82-7279-893B-55294CD70A66}" dt="2020-07-21T19:14:52.037" v="11"/>
        <pc:sldMkLst>
          <pc:docMk/>
          <pc:sldMk cId="423080654" sldId="1117"/>
        </pc:sldMkLst>
      </pc:sldChg>
      <pc:sldChg chg="addCm">
        <pc:chgData name="" userId="" providerId="" clId="Web-{C133DC37-8F82-7279-893B-55294CD70A66}" dt="2020-07-21T19:16:11.803" v="12"/>
        <pc:sldMkLst>
          <pc:docMk/>
          <pc:sldMk cId="2318289709" sldId="1119"/>
        </pc:sldMkLst>
      </pc:sldChg>
    </pc:docChg>
  </pc:docChgLst>
  <pc:docChgLst>
    <pc:chgData clId="Web-{B59C3552-617C-E464-AD03-74BD2A5FF673}"/>
    <pc:docChg chg="modSld">
      <pc:chgData name="" userId="" providerId="" clId="Web-{B59C3552-617C-E464-AD03-74BD2A5FF673}" dt="2020-07-14T19:44:44.443" v="2"/>
      <pc:docMkLst>
        <pc:docMk/>
      </pc:docMkLst>
    </pc:docChg>
  </pc:docChgLst>
  <pc:docChgLst>
    <pc:chgData clId="Web-{121B8DF1-E155-97AB-CD79-399EE01C0558}"/>
    <pc:docChg chg="modSld">
      <pc:chgData name="" userId="" providerId="" clId="Web-{121B8DF1-E155-97AB-CD79-399EE01C0558}" dt="2020-08-03T16:10:34.983" v="0" actId="1076"/>
      <pc:docMkLst>
        <pc:docMk/>
      </pc:docMkLst>
    </pc:docChg>
  </pc:docChgLst>
  <pc:docChgLst>
    <pc:chgData clId="Web-{201E7AEF-00C5-9ABC-0BFE-DF230E3FDFB8}"/>
    <pc:docChg chg="">
      <pc:chgData name="" userId="" providerId="" clId="Web-{201E7AEF-00C5-9ABC-0BFE-DF230E3FDFB8}" dt="2020-07-28T19:50:27.408" v="2"/>
      <pc:docMkLst>
        <pc:docMk/>
      </pc:docMkLst>
      <pc:sldChg chg="addCm">
        <pc:chgData name="" userId="" providerId="" clId="Web-{201E7AEF-00C5-9ABC-0BFE-DF230E3FDFB8}" dt="2020-07-28T19:50:27.408" v="2"/>
        <pc:sldMkLst>
          <pc:docMk/>
          <pc:sldMk cId="1905173972" sldId="1021"/>
        </pc:sldMkLst>
      </pc:sldChg>
      <pc:sldChg chg="addCm">
        <pc:chgData name="" userId="" providerId="" clId="Web-{201E7AEF-00C5-9ABC-0BFE-DF230E3FDFB8}" dt="2020-07-28T19:46:03.310" v="1"/>
        <pc:sldMkLst>
          <pc:docMk/>
          <pc:sldMk cId="520716004" sldId="1058"/>
        </pc:sldMkLst>
      </pc:sldChg>
    </pc:docChg>
  </pc:docChgLst>
  <pc:docChgLst>
    <pc:chgData clId="Web-{FB831525-77BA-5E85-D33D-519C65A6A4A4}"/>
    <pc:docChg chg="">
      <pc:chgData name="" userId="" providerId="" clId="Web-{FB831525-77BA-5E85-D33D-519C65A6A4A4}" dt="2020-07-14T22:59:04.803" v="1"/>
      <pc:docMkLst>
        <pc:docMk/>
      </pc:docMkLst>
    </pc:docChg>
  </pc:docChgLst>
  <pc:docChgLst>
    <pc:chgData clId="Web-{798F01B3-581A-B49D-D8CC-D13DA3A96356}"/>
    <pc:docChg chg="modSld">
      <pc:chgData name="" userId="" providerId="" clId="Web-{798F01B3-581A-B49D-D8CC-D13DA3A96356}" dt="2020-07-21T21:24:27.208" v="1"/>
      <pc:docMkLst>
        <pc:docMk/>
      </pc:docMkLst>
    </pc:docChg>
  </pc:docChgLst>
  <pc:docChgLst>
    <pc:chgData name="Le Zhang (DCP)" userId="4093b8df-c45f-452e-86ba-4cdd8d4ea262" providerId="ADAL" clId="{9522F1B7-B571-4DBD-AAE7-692E55532CF2}"/>
    <pc:docChg chg="undo custSel modSld modMainMaster">
      <pc:chgData name="Le Zhang (DCP)" userId="4093b8df-c45f-452e-86ba-4cdd8d4ea262" providerId="ADAL" clId="{9522F1B7-B571-4DBD-AAE7-692E55532CF2}" dt="2020-07-21T22:29:12.037" v="862" actId="478"/>
      <pc:docMkLst>
        <pc:docMk/>
      </pc:docMkLst>
      <pc:sldChg chg="modSp">
        <pc:chgData name="Le Zhang (DCP)" userId="4093b8df-c45f-452e-86ba-4cdd8d4ea262" providerId="ADAL" clId="{9522F1B7-B571-4DBD-AAE7-692E55532CF2}" dt="2020-07-15T01:36:33.126" v="5" actId="20577"/>
        <pc:sldMkLst>
          <pc:docMk/>
          <pc:sldMk cId="866642221" sldId="604"/>
        </pc:sldMkLst>
        <pc:spChg chg="mod">
          <ac:chgData name="Le Zhang (DCP)" userId="4093b8df-c45f-452e-86ba-4cdd8d4ea262" providerId="ADAL" clId="{9522F1B7-B571-4DBD-AAE7-692E55532CF2}" dt="2020-07-15T01:36:33.126" v="5" actId="20577"/>
          <ac:spMkLst>
            <pc:docMk/>
            <pc:sldMk cId="866642221" sldId="604"/>
            <ac:spMk id="4" creationId="{00000000-0000-0000-0000-000000000000}"/>
          </ac:spMkLst>
        </pc:spChg>
      </pc:sldChg>
      <pc:sldChg chg="addSp delSp modSp mod">
        <pc:chgData name="Le Zhang (DCP)" userId="4093b8df-c45f-452e-86ba-4cdd8d4ea262" providerId="ADAL" clId="{9522F1B7-B571-4DBD-AAE7-692E55532CF2}" dt="2020-07-21T21:51:38.424" v="849" actId="1076"/>
        <pc:sldMkLst>
          <pc:docMk/>
          <pc:sldMk cId="3893609620" sldId="945"/>
        </pc:sldMkLst>
        <pc:spChg chg="mod">
          <ac:chgData name="Le Zhang (DCP)" userId="4093b8df-c45f-452e-86ba-4cdd8d4ea262" providerId="ADAL" clId="{9522F1B7-B571-4DBD-AAE7-692E55532CF2}" dt="2020-07-21T21:16:24.548" v="674" actId="20577"/>
          <ac:spMkLst>
            <pc:docMk/>
            <pc:sldMk cId="3893609620" sldId="945"/>
            <ac:spMk id="18" creationId="{4B400C07-9027-4C73-9C4E-038FC4557A14}"/>
          </ac:spMkLst>
        </pc:spChg>
        <pc:spChg chg="del mod">
          <ac:chgData name="Le Zhang (DCP)" userId="4093b8df-c45f-452e-86ba-4cdd8d4ea262" providerId="ADAL" clId="{9522F1B7-B571-4DBD-AAE7-692E55532CF2}" dt="2020-07-21T21:47:04.323" v="694" actId="478"/>
          <ac:spMkLst>
            <pc:docMk/>
            <pc:sldMk cId="3893609620" sldId="945"/>
            <ac:spMk id="29" creationId="{173B2FFE-0BA3-4530-9382-3A016A5A9F71}"/>
          </ac:spMkLst>
        </pc:spChg>
        <pc:spChg chg="mod">
          <ac:chgData name="Le Zhang (DCP)" userId="4093b8df-c45f-452e-86ba-4cdd8d4ea262" providerId="ADAL" clId="{9522F1B7-B571-4DBD-AAE7-692E55532CF2}" dt="2020-07-21T21:47:13.547" v="722" actId="1038"/>
          <ac:spMkLst>
            <pc:docMk/>
            <pc:sldMk cId="3893609620" sldId="945"/>
            <ac:spMk id="30" creationId="{94EFE761-FD16-48E0-933F-AD68746AB657}"/>
          </ac:spMkLst>
        </pc:spChg>
        <pc:spChg chg="mod">
          <ac:chgData name="Le Zhang (DCP)" userId="4093b8df-c45f-452e-86ba-4cdd8d4ea262" providerId="ADAL" clId="{9522F1B7-B571-4DBD-AAE7-692E55532CF2}" dt="2020-07-21T21:47:20.393" v="748" actId="1038"/>
          <ac:spMkLst>
            <pc:docMk/>
            <pc:sldMk cId="3893609620" sldId="945"/>
            <ac:spMk id="31" creationId="{0BF07143-E56E-40FA-9849-54DC7832BB78}"/>
          </ac:spMkLst>
        </pc:spChg>
        <pc:spChg chg="mod">
          <ac:chgData name="Le Zhang (DCP)" userId="4093b8df-c45f-452e-86ba-4cdd8d4ea262" providerId="ADAL" clId="{9522F1B7-B571-4DBD-AAE7-692E55532CF2}" dt="2020-07-21T21:47:26.819" v="764" actId="1037"/>
          <ac:spMkLst>
            <pc:docMk/>
            <pc:sldMk cId="3893609620" sldId="945"/>
            <ac:spMk id="32" creationId="{4A9D15F8-3390-45AE-BEF1-6CD30E8208A6}"/>
          </ac:spMkLst>
        </pc:spChg>
        <pc:spChg chg="mod">
          <ac:chgData name="Le Zhang (DCP)" userId="4093b8df-c45f-452e-86ba-4cdd8d4ea262" providerId="ADAL" clId="{9522F1B7-B571-4DBD-AAE7-692E55532CF2}" dt="2020-07-21T21:47:44.051" v="796" actId="1037"/>
          <ac:spMkLst>
            <pc:docMk/>
            <pc:sldMk cId="3893609620" sldId="945"/>
            <ac:spMk id="33" creationId="{6940218C-8629-4C01-8501-CC380A5F2E2B}"/>
          </ac:spMkLst>
        </pc:spChg>
        <pc:spChg chg="mod">
          <ac:chgData name="Le Zhang (DCP)" userId="4093b8df-c45f-452e-86ba-4cdd8d4ea262" providerId="ADAL" clId="{9522F1B7-B571-4DBD-AAE7-692E55532CF2}" dt="2020-07-21T21:47:49.790" v="805" actId="1037"/>
          <ac:spMkLst>
            <pc:docMk/>
            <pc:sldMk cId="3893609620" sldId="945"/>
            <ac:spMk id="34" creationId="{EB37EFAB-7DC3-4863-959A-C09E68B63594}"/>
          </ac:spMkLst>
        </pc:spChg>
        <pc:spChg chg="mod">
          <ac:chgData name="Le Zhang (DCP)" userId="4093b8df-c45f-452e-86ba-4cdd8d4ea262" providerId="ADAL" clId="{9522F1B7-B571-4DBD-AAE7-692E55532CF2}" dt="2020-07-21T21:47:53.729" v="806" actId="1037"/>
          <ac:spMkLst>
            <pc:docMk/>
            <pc:sldMk cId="3893609620" sldId="945"/>
            <ac:spMk id="35" creationId="{4C2FC8C1-9DF4-40FB-89A2-1816329ABBD9}"/>
          </ac:spMkLst>
        </pc:spChg>
        <pc:spChg chg="mod">
          <ac:chgData name="Le Zhang (DCP)" userId="4093b8df-c45f-452e-86ba-4cdd8d4ea262" providerId="ADAL" clId="{9522F1B7-B571-4DBD-AAE7-692E55532CF2}" dt="2020-07-21T21:51:38.424" v="849" actId="1076"/>
          <ac:spMkLst>
            <pc:docMk/>
            <pc:sldMk cId="3893609620" sldId="945"/>
            <ac:spMk id="46" creationId="{D7B7A9D9-72DC-4C15-A101-5CF60024CF42}"/>
          </ac:spMkLst>
        </pc:spChg>
        <pc:spChg chg="mod">
          <ac:chgData name="Le Zhang (DCP)" userId="4093b8df-c45f-452e-86ba-4cdd8d4ea262" providerId="ADAL" clId="{9522F1B7-B571-4DBD-AAE7-692E55532CF2}" dt="2020-07-21T21:47:38.048" v="781" actId="1037"/>
          <ac:spMkLst>
            <pc:docMk/>
            <pc:sldMk cId="3893609620" sldId="945"/>
            <ac:spMk id="48" creationId="{F1DD7476-BCD6-4063-840E-32EA2BC5AD01}"/>
          </ac:spMkLst>
        </pc:spChg>
        <pc:grpChg chg="mod ord">
          <ac:chgData name="Le Zhang (DCP)" userId="4093b8df-c45f-452e-86ba-4cdd8d4ea262" providerId="ADAL" clId="{9522F1B7-B571-4DBD-AAE7-692E55532CF2}" dt="2020-07-21T21:50:58.488" v="834" actId="166"/>
          <ac:grpSpMkLst>
            <pc:docMk/>
            <pc:sldMk cId="3893609620" sldId="945"/>
            <ac:grpSpMk id="14" creationId="{51D7E514-97F9-4E49-8257-3A7C5D002E4B}"/>
          </ac:grpSpMkLst>
        </pc:grpChg>
        <pc:grpChg chg="del mod">
          <ac:chgData name="Le Zhang (DCP)" userId="4093b8df-c45f-452e-86ba-4cdd8d4ea262" providerId="ADAL" clId="{9522F1B7-B571-4DBD-AAE7-692E55532CF2}" dt="2020-07-21T17:02:56.083" v="6" actId="478"/>
          <ac:grpSpMkLst>
            <pc:docMk/>
            <pc:sldMk cId="3893609620" sldId="945"/>
            <ac:grpSpMk id="15" creationId="{88F60B49-BB3B-4D96-BBA4-1B15AF346E5D}"/>
          </ac:grpSpMkLst>
        </pc:grpChg>
        <pc:grpChg chg="del mod">
          <ac:chgData name="Le Zhang (DCP)" userId="4093b8df-c45f-452e-86ba-4cdd8d4ea262" providerId="ADAL" clId="{9522F1B7-B571-4DBD-AAE7-692E55532CF2}" dt="2020-07-21T17:10:24.114" v="134" actId="478"/>
          <ac:grpSpMkLst>
            <pc:docMk/>
            <pc:sldMk cId="3893609620" sldId="945"/>
            <ac:grpSpMk id="16" creationId="{1068664F-B066-45C8-A928-0A7D20E9C62F}"/>
          </ac:grpSpMkLst>
        </pc:grpChg>
        <pc:grpChg chg="mod">
          <ac:chgData name="Le Zhang (DCP)" userId="4093b8df-c45f-452e-86ba-4cdd8d4ea262" providerId="ADAL" clId="{9522F1B7-B571-4DBD-AAE7-692E55532CF2}" dt="2020-07-21T21:49:26.335" v="820" actId="1037"/>
          <ac:grpSpMkLst>
            <pc:docMk/>
            <pc:sldMk cId="3893609620" sldId="945"/>
            <ac:grpSpMk id="21" creationId="{D731847C-4DBE-4AE5-B7E7-BC7A44AC83FE}"/>
          </ac:grpSpMkLst>
        </pc:grpChg>
        <pc:grpChg chg="mod">
          <ac:chgData name="Le Zhang (DCP)" userId="4093b8df-c45f-452e-86ba-4cdd8d4ea262" providerId="ADAL" clId="{9522F1B7-B571-4DBD-AAE7-692E55532CF2}" dt="2020-07-21T17:07:09.935" v="73" actId="1076"/>
          <ac:grpSpMkLst>
            <pc:docMk/>
            <pc:sldMk cId="3893609620" sldId="945"/>
            <ac:grpSpMk id="25" creationId="{5BABA797-0DCD-4E58-9609-E0B0D33B5F04}"/>
          </ac:grpSpMkLst>
        </pc:grpChg>
        <pc:grpChg chg="mod">
          <ac:chgData name="Le Zhang (DCP)" userId="4093b8df-c45f-452e-86ba-4cdd8d4ea262" providerId="ADAL" clId="{9522F1B7-B571-4DBD-AAE7-692E55532CF2}" dt="2020-07-21T17:06:44.234" v="66"/>
          <ac:grpSpMkLst>
            <pc:docMk/>
            <pc:sldMk cId="3893609620" sldId="945"/>
            <ac:grpSpMk id="27" creationId="{3795B927-32AF-48BE-8D06-B3FA72EA010A}"/>
          </ac:grpSpMkLst>
        </pc:grpChg>
        <pc:grpChg chg="add mod">
          <ac:chgData name="Le Zhang (DCP)" userId="4093b8df-c45f-452e-86ba-4cdd8d4ea262" providerId="ADAL" clId="{9522F1B7-B571-4DBD-AAE7-692E55532CF2}" dt="2020-07-21T17:06:45.467" v="68" actId="571"/>
          <ac:grpSpMkLst>
            <pc:docMk/>
            <pc:sldMk cId="3893609620" sldId="945"/>
            <ac:grpSpMk id="37" creationId="{CF4CD9E5-8008-4ADE-926C-2C21172FB6F2}"/>
          </ac:grpSpMkLst>
        </pc:grpChg>
        <pc:grpChg chg="mod">
          <ac:chgData name="Le Zhang (DCP)" userId="4093b8df-c45f-452e-86ba-4cdd8d4ea262" providerId="ADAL" clId="{9522F1B7-B571-4DBD-AAE7-692E55532CF2}" dt="2020-07-21T17:02:56.083" v="6" actId="478"/>
          <ac:grpSpMkLst>
            <pc:docMk/>
            <pc:sldMk cId="3893609620" sldId="945"/>
            <ac:grpSpMk id="38" creationId="{A148A6BF-0FCB-402E-92DF-B905255AB259}"/>
          </ac:grpSpMkLst>
        </pc:grpChg>
        <pc:grpChg chg="mod">
          <ac:chgData name="Le Zhang (DCP)" userId="4093b8df-c45f-452e-86ba-4cdd8d4ea262" providerId="ADAL" clId="{9522F1B7-B571-4DBD-AAE7-692E55532CF2}" dt="2020-07-21T17:06:45.467" v="68" actId="571"/>
          <ac:grpSpMkLst>
            <pc:docMk/>
            <pc:sldMk cId="3893609620" sldId="945"/>
            <ac:grpSpMk id="42" creationId="{22A7D9F6-AEAF-436D-AF11-75D0493A3689}"/>
          </ac:grpSpMkLst>
        </pc:grpChg>
        <pc:grpChg chg="add mod">
          <ac:chgData name="Le Zhang (DCP)" userId="4093b8df-c45f-452e-86ba-4cdd8d4ea262" providerId="ADAL" clId="{9522F1B7-B571-4DBD-AAE7-692E55532CF2}" dt="2020-07-21T17:06:45.467" v="68" actId="571"/>
          <ac:grpSpMkLst>
            <pc:docMk/>
            <pc:sldMk cId="3893609620" sldId="945"/>
            <ac:grpSpMk id="51" creationId="{A34AC47A-120F-4059-A05E-8AC020B4B921}"/>
          </ac:grpSpMkLst>
        </pc:grpChg>
        <pc:grpChg chg="mod">
          <ac:chgData name="Le Zhang (DCP)" userId="4093b8df-c45f-452e-86ba-4cdd8d4ea262" providerId="ADAL" clId="{9522F1B7-B571-4DBD-AAE7-692E55532CF2}" dt="2020-07-21T17:06:45.467" v="68" actId="571"/>
          <ac:grpSpMkLst>
            <pc:docMk/>
            <pc:sldMk cId="3893609620" sldId="945"/>
            <ac:grpSpMk id="52" creationId="{744575E6-C096-407D-9EF1-7296B55327BF}"/>
          </ac:grpSpMkLst>
        </pc:grpChg>
        <pc:grpChg chg="mod">
          <ac:chgData name="Le Zhang (DCP)" userId="4093b8df-c45f-452e-86ba-4cdd8d4ea262" providerId="ADAL" clId="{9522F1B7-B571-4DBD-AAE7-692E55532CF2}" dt="2020-07-21T17:06:45.467" v="68" actId="571"/>
          <ac:grpSpMkLst>
            <pc:docMk/>
            <pc:sldMk cId="3893609620" sldId="945"/>
            <ac:grpSpMk id="53" creationId="{0C06E738-3EDC-41FF-8A32-2E5092FE175F}"/>
          </ac:grpSpMkLst>
        </pc:grpChg>
        <pc:graphicFrameChg chg="add del mod">
          <ac:chgData name="Le Zhang (DCP)" userId="4093b8df-c45f-452e-86ba-4cdd8d4ea262" providerId="ADAL" clId="{9522F1B7-B571-4DBD-AAE7-692E55532CF2}" dt="2020-07-21T21:46:30.042" v="675" actId="478"/>
          <ac:graphicFrameMkLst>
            <pc:docMk/>
            <pc:sldMk cId="3893609620" sldId="945"/>
            <ac:graphicFrameMk id="36" creationId="{B5C1112F-4DEC-4BBF-B66C-BD9D7E491B5B}"/>
          </ac:graphicFrameMkLst>
        </pc:graphicFrameChg>
        <pc:graphicFrameChg chg="add mod">
          <ac:chgData name="Le Zhang (DCP)" userId="4093b8df-c45f-452e-86ba-4cdd8d4ea262" providerId="ADAL" clId="{9522F1B7-B571-4DBD-AAE7-692E55532CF2}" dt="2020-07-21T21:50:27.079" v="823" actId="403"/>
          <ac:graphicFrameMkLst>
            <pc:docMk/>
            <pc:sldMk cId="3893609620" sldId="945"/>
            <ac:graphicFrameMk id="37" creationId="{B5C1112F-4DEC-4BBF-B66C-BD9D7E491B5B}"/>
          </ac:graphicFrameMkLst>
        </pc:graphicFrameChg>
        <pc:graphicFrameChg chg="add mod">
          <ac:chgData name="Le Zhang (DCP)" userId="4093b8df-c45f-452e-86ba-4cdd8d4ea262" providerId="ADAL" clId="{9522F1B7-B571-4DBD-AAE7-692E55532CF2}" dt="2020-07-21T21:50:20.975" v="822" actId="403"/>
          <ac:graphicFrameMkLst>
            <pc:docMk/>
            <pc:sldMk cId="3893609620" sldId="945"/>
            <ac:graphicFrameMk id="41" creationId="{A0807E5F-4857-4EC3-B4F6-C9AE10D6552D}"/>
          </ac:graphicFrameMkLst>
        </pc:graphicFrameChg>
        <pc:graphicFrameChg chg="add mod">
          <ac:chgData name="Le Zhang (DCP)" userId="4093b8df-c45f-452e-86ba-4cdd8d4ea262" providerId="ADAL" clId="{9522F1B7-B571-4DBD-AAE7-692E55532CF2}" dt="2020-07-21T21:51:14.170" v="841" actId="14100"/>
          <ac:graphicFrameMkLst>
            <pc:docMk/>
            <pc:sldMk cId="3893609620" sldId="945"/>
            <ac:graphicFrameMk id="42" creationId="{2E12B5D4-5FBB-4BBA-89AE-CFDCF53A63B5}"/>
          </ac:graphicFrameMkLst>
        </pc:graphicFrameChg>
        <pc:graphicFrameChg chg="del">
          <ac:chgData name="Le Zhang (DCP)" userId="4093b8df-c45f-452e-86ba-4cdd8d4ea262" providerId="ADAL" clId="{9522F1B7-B571-4DBD-AAE7-692E55532CF2}" dt="2020-07-21T17:09:10.829" v="74" actId="478"/>
          <ac:graphicFrameMkLst>
            <pc:docMk/>
            <pc:sldMk cId="3893609620" sldId="945"/>
            <ac:graphicFrameMk id="44" creationId="{2E12B5D4-5FBB-4BBA-89AE-CFDCF53A63B5}"/>
          </ac:graphicFrameMkLst>
        </pc:graphicFrameChg>
        <pc:graphicFrameChg chg="del">
          <ac:chgData name="Le Zhang (DCP)" userId="4093b8df-c45f-452e-86ba-4cdd8d4ea262" providerId="ADAL" clId="{9522F1B7-B571-4DBD-AAE7-692E55532CF2}" dt="2020-07-21T17:02:56.083" v="6" actId="478"/>
          <ac:graphicFrameMkLst>
            <pc:docMk/>
            <pc:sldMk cId="3893609620" sldId="945"/>
            <ac:graphicFrameMk id="47" creationId="{B5C1112F-4DEC-4BBF-B66C-BD9D7E491B5B}"/>
          </ac:graphicFrameMkLst>
        </pc:graphicFrameChg>
        <pc:graphicFrameChg chg="del">
          <ac:chgData name="Le Zhang (DCP)" userId="4093b8df-c45f-452e-86ba-4cdd8d4ea262" providerId="ADAL" clId="{9522F1B7-B571-4DBD-AAE7-692E55532CF2}" dt="2020-07-21T17:10:24.114" v="134" actId="478"/>
          <ac:graphicFrameMkLst>
            <pc:docMk/>
            <pc:sldMk cId="3893609620" sldId="945"/>
            <ac:graphicFrameMk id="49" creationId="{A0807E5F-4857-4EC3-B4F6-C9AE10D6552D}"/>
          </ac:graphicFrameMkLst>
        </pc:graphicFrameChg>
        <pc:graphicFrameChg chg="add del mod">
          <ac:chgData name="Le Zhang (DCP)" userId="4093b8df-c45f-452e-86ba-4cdd8d4ea262" providerId="ADAL" clId="{9522F1B7-B571-4DBD-AAE7-692E55532CF2}" dt="2020-07-21T21:50:30.575" v="824" actId="478"/>
          <ac:graphicFrameMkLst>
            <pc:docMk/>
            <pc:sldMk cId="3893609620" sldId="945"/>
            <ac:graphicFrameMk id="63" creationId="{2E12B5D4-5FBB-4BBA-89AE-CFDCF53A63B5}"/>
          </ac:graphicFrameMkLst>
        </pc:graphicFrameChg>
        <pc:graphicFrameChg chg="add del mod">
          <ac:chgData name="Le Zhang (DCP)" userId="4093b8df-c45f-452e-86ba-4cdd8d4ea262" providerId="ADAL" clId="{9522F1B7-B571-4DBD-AAE7-692E55532CF2}" dt="2020-07-21T21:48:50.878" v="807" actId="478"/>
          <ac:graphicFrameMkLst>
            <pc:docMk/>
            <pc:sldMk cId="3893609620" sldId="945"/>
            <ac:graphicFrameMk id="64" creationId="{A0807E5F-4857-4EC3-B4F6-C9AE10D6552D}"/>
          </ac:graphicFrameMkLst>
        </pc:graphicFrameChg>
        <pc:cxnChg chg="mod">
          <ac:chgData name="Le Zhang (DCP)" userId="4093b8df-c45f-452e-86ba-4cdd8d4ea262" providerId="ADAL" clId="{9522F1B7-B571-4DBD-AAE7-692E55532CF2}" dt="2020-07-21T21:51:34.476" v="848" actId="1036"/>
          <ac:cxnSpMkLst>
            <pc:docMk/>
            <pc:sldMk cId="3893609620" sldId="945"/>
            <ac:cxnSpMk id="45" creationId="{918D82A6-8BFE-49A3-94B9-0BA720F362FE}"/>
          </ac:cxnSpMkLst>
        </pc:cxnChg>
      </pc:sldChg>
      <pc:sldMasterChg chg="modSp">
        <pc:chgData name="Le Zhang (DCP)" userId="4093b8df-c45f-452e-86ba-4cdd8d4ea262" providerId="ADAL" clId="{9522F1B7-B571-4DBD-AAE7-692E55532CF2}" dt="2020-07-15T01:36:26.348" v="1" actId="20577"/>
        <pc:sldMasterMkLst>
          <pc:docMk/>
          <pc:sldMasterMk cId="0" sldId="2147483660"/>
        </pc:sldMasterMkLst>
        <pc:spChg chg="mod">
          <ac:chgData name="Le Zhang (DCP)" userId="4093b8df-c45f-452e-86ba-4cdd8d4ea262" providerId="ADAL" clId="{9522F1B7-B571-4DBD-AAE7-692E55532CF2}" dt="2020-07-15T01:36:26.348" v="1" actId="20577"/>
          <ac:spMkLst>
            <pc:docMk/>
            <pc:sldMasterMk cId="0" sldId="2147483660"/>
            <ac:spMk id="8" creationId="{892C32C2-73D7-45DA-8755-2A0C4259CF1E}"/>
          </ac:spMkLst>
        </pc:spChg>
      </pc:sldMasterChg>
    </pc:docChg>
  </pc:docChgLst>
  <pc:docChgLst>
    <pc:chgData name="Fangnan Du (DCP)" userId="50de7b9d-879b-4fbd-a8e5-64ec99cdf932" providerId="ADAL" clId="{E03BE131-B13A-40AF-9A6E-12CE923445A1}"/>
    <pc:docChg chg="undo custSel modSld">
      <pc:chgData name="Fangnan Du (DCP)" userId="50de7b9d-879b-4fbd-a8e5-64ec99cdf932" providerId="ADAL" clId="{E03BE131-B13A-40AF-9A6E-12CE923445A1}" dt="2020-07-21T21:05:21.334" v="191" actId="27918"/>
      <pc:docMkLst>
        <pc:docMk/>
      </pc:docMkLst>
      <pc:sldChg chg="addSp delSp modSp mod">
        <pc:chgData name="Fangnan Du (DCP)" userId="50de7b9d-879b-4fbd-a8e5-64ec99cdf932" providerId="ADAL" clId="{E03BE131-B13A-40AF-9A6E-12CE923445A1}" dt="2020-07-21T15:28:55.063" v="57" actId="1076"/>
        <pc:sldMkLst>
          <pc:docMk/>
          <pc:sldMk cId="1905173972" sldId="1021"/>
        </pc:sldMkLst>
        <pc:graphicFrameChg chg="add mod">
          <ac:chgData name="Fangnan Du (DCP)" userId="50de7b9d-879b-4fbd-a8e5-64ec99cdf932" providerId="ADAL" clId="{E03BE131-B13A-40AF-9A6E-12CE923445A1}" dt="2020-07-21T15:28:55.063" v="57" actId="1076"/>
          <ac:graphicFrameMkLst>
            <pc:docMk/>
            <pc:sldMk cId="1905173972" sldId="1021"/>
            <ac:graphicFrameMk id="9" creationId="{E20C45EC-BE3F-467E-BF4C-DA873D893AC3}"/>
          </ac:graphicFrameMkLst>
        </pc:graphicFrameChg>
        <pc:graphicFrameChg chg="del mod">
          <ac:chgData name="Fangnan Du (DCP)" userId="50de7b9d-879b-4fbd-a8e5-64ec99cdf932" providerId="ADAL" clId="{E03BE131-B13A-40AF-9A6E-12CE923445A1}" dt="2020-07-21T15:28:21.149" v="50" actId="478"/>
          <ac:graphicFrameMkLst>
            <pc:docMk/>
            <pc:sldMk cId="1905173972" sldId="1021"/>
            <ac:graphicFrameMk id="12" creationId="{E20C45EC-BE3F-467E-BF4C-DA873D893AC3}"/>
          </ac:graphicFrameMkLst>
        </pc:graphicFrameChg>
        <pc:graphicFrameChg chg="mod">
          <ac:chgData name="Fangnan Du (DCP)" userId="50de7b9d-879b-4fbd-a8e5-64ec99cdf932" providerId="ADAL" clId="{E03BE131-B13A-40AF-9A6E-12CE923445A1}" dt="2020-07-20T20:58:00.633" v="18"/>
          <ac:graphicFrameMkLst>
            <pc:docMk/>
            <pc:sldMk cId="1905173972" sldId="1021"/>
            <ac:graphicFrameMk id="20" creationId="{ABDA0456-7318-47A9-96BE-520D8CD1B3DC}"/>
          </ac:graphicFrameMkLst>
        </pc:graphicFrameChg>
      </pc:sldChg>
    </pc:docChg>
  </pc:docChgLst>
  <pc:docChgLst>
    <pc:chgData clId="Web-{1FDE89EC-560A-73E2-6279-3295ADC67540}"/>
    <pc:docChg chg="modSld">
      <pc:chgData name="" userId="" providerId="" clId="Web-{1FDE89EC-560A-73E2-6279-3295ADC67540}" dt="2020-07-07T18:04:45.309" v="0"/>
      <pc:docMkLst>
        <pc:docMk/>
      </pc:docMkLst>
      <pc:sldChg chg="delSp">
        <pc:chgData name="" userId="" providerId="" clId="Web-{1FDE89EC-560A-73E2-6279-3295ADC67540}" dt="2020-07-07T18:04:45.309" v="0"/>
        <pc:sldMkLst>
          <pc:docMk/>
          <pc:sldMk cId="3893609620" sldId="945"/>
        </pc:sldMkLst>
        <pc:spChg chg="del">
          <ac:chgData name="" userId="" providerId="" clId="Web-{1FDE89EC-560A-73E2-6279-3295ADC67540}" dt="2020-07-07T18:04:45.309" v="0"/>
          <ac:spMkLst>
            <pc:docMk/>
            <pc:sldMk cId="3893609620" sldId="945"/>
            <ac:spMk id="6" creationId="{B249ACEC-CFA3-48F7-AD3E-A64382D7FA85}"/>
          </ac:spMkLst>
        </pc:spChg>
      </pc:sldChg>
    </pc:docChg>
  </pc:docChgLst>
  <pc:docChgLst>
    <pc:chgData clId="Web-{2408E81F-5142-A4CA-D3C2-1B7055A240B7}"/>
    <pc:docChg chg="modSld">
      <pc:chgData name="" userId="" providerId="" clId="Web-{2408E81F-5142-A4CA-D3C2-1B7055A240B7}" dt="2020-07-28T22:19:14.317" v="13"/>
      <pc:docMkLst>
        <pc:docMk/>
      </pc:docMkLst>
      <pc:sldChg chg="modSp addCm">
        <pc:chgData name="" userId="" providerId="" clId="Web-{2408E81F-5142-A4CA-D3C2-1B7055A240B7}" dt="2020-07-28T22:19:14.317" v="13"/>
        <pc:sldMkLst>
          <pc:docMk/>
          <pc:sldMk cId="3893609620" sldId="945"/>
        </pc:sldMkLst>
        <pc:spChg chg="mod">
          <ac:chgData name="" userId="" providerId="" clId="Web-{2408E81F-5142-A4CA-D3C2-1B7055A240B7}" dt="2020-07-28T16:52:48.079" v="1" actId="1076"/>
          <ac:spMkLst>
            <pc:docMk/>
            <pc:sldMk cId="3893609620" sldId="945"/>
            <ac:spMk id="28" creationId="{071B3585-A2EB-4CA5-BF0A-C2E9A742FB9E}"/>
          </ac:spMkLst>
        </pc:spChg>
        <pc:grpChg chg="mod">
          <ac:chgData name="" userId="" providerId="" clId="Web-{2408E81F-5142-A4CA-D3C2-1B7055A240B7}" dt="2020-07-28T22:18:34.626" v="12" actId="1076"/>
          <ac:grpSpMkLst>
            <pc:docMk/>
            <pc:sldMk cId="3893609620" sldId="945"/>
            <ac:grpSpMk id="14" creationId="{51D7E514-97F9-4E49-8257-3A7C5D002E4B}"/>
          </ac:grpSpMkLst>
        </pc:grpChg>
        <pc:cxnChg chg="mod">
          <ac:chgData name="" userId="" providerId="" clId="Web-{2408E81F-5142-A4CA-D3C2-1B7055A240B7}" dt="2020-07-28T17:03:24.905" v="6" actId="14100"/>
          <ac:cxnSpMkLst>
            <pc:docMk/>
            <pc:sldMk cId="3893609620" sldId="945"/>
            <ac:cxnSpMk id="23" creationId="{7C2B7576-953B-4998-8B1B-3C1A1B5D7F50}"/>
          </ac:cxnSpMkLst>
        </pc:cxnChg>
        <pc:cxnChg chg="mod">
          <ac:chgData name="" userId="" providerId="" clId="Web-{2408E81F-5142-A4CA-D3C2-1B7055A240B7}" dt="2020-07-28T17:03:16.795" v="5" actId="14100"/>
          <ac:cxnSpMkLst>
            <pc:docMk/>
            <pc:sldMk cId="3893609620" sldId="945"/>
            <ac:cxnSpMk id="39" creationId="{9EFFE4AE-851E-4579-9EFE-99E2D84194BA}"/>
          </ac:cxnSpMkLst>
        </pc:cxnChg>
        <pc:cxnChg chg="mod">
          <ac:chgData name="" userId="" providerId="" clId="Web-{2408E81F-5142-A4CA-D3C2-1B7055A240B7}" dt="2020-07-28T17:03:42.125" v="8" actId="1076"/>
          <ac:cxnSpMkLst>
            <pc:docMk/>
            <pc:sldMk cId="3893609620" sldId="945"/>
            <ac:cxnSpMk id="45" creationId="{918D82A6-8BFE-49A3-94B9-0BA720F362FE}"/>
          </ac:cxnSpMkLst>
        </pc:cxnChg>
      </pc:sldChg>
    </pc:docChg>
  </pc:docChgLst>
  <pc:docChgLst>
    <pc:chgData name="Yijun Ma" userId="6b140692-16f7-4f54-a783-028f16aab7b0" providerId="ADAL" clId="{117A35C0-3986-472E-9A56-3EF6DC3C5251}"/>
    <pc:docChg chg="undo custSel modSld">
      <pc:chgData name="Yijun Ma" userId="6b140692-16f7-4f54-a783-028f16aab7b0" providerId="ADAL" clId="{117A35C0-3986-472E-9A56-3EF6DC3C5251}" dt="2020-07-21T17:35:38.098" v="79" actId="14100"/>
      <pc:docMkLst>
        <pc:docMk/>
      </pc:docMkLst>
      <pc:sldChg chg="addSp delSp modSp modNotesTx">
        <pc:chgData name="Yijun Ma" userId="6b140692-16f7-4f54-a783-028f16aab7b0" providerId="ADAL" clId="{117A35C0-3986-472E-9A56-3EF6DC3C5251}" dt="2020-07-20T20:44:00.588" v="57" actId="20577"/>
        <pc:sldMkLst>
          <pc:docMk/>
          <pc:sldMk cId="2415737977" sldId="1063"/>
        </pc:sldMkLst>
        <pc:spChg chg="mod">
          <ac:chgData name="Yijun Ma" userId="6b140692-16f7-4f54-a783-028f16aab7b0" providerId="ADAL" clId="{117A35C0-3986-472E-9A56-3EF6DC3C5251}" dt="2020-07-20T20:32:03.784" v="13" actId="1076"/>
          <ac:spMkLst>
            <pc:docMk/>
            <pc:sldMk cId="2415737977" sldId="1063"/>
            <ac:spMk id="2" creationId="{34067B45-0477-41C4-847B-3BFADB14672F}"/>
          </ac:spMkLst>
        </pc:spChg>
        <pc:spChg chg="mod">
          <ac:chgData name="Yijun Ma" userId="6b140692-16f7-4f54-a783-028f16aab7b0" providerId="ADAL" clId="{117A35C0-3986-472E-9A56-3EF6DC3C5251}" dt="2020-07-20T20:32:27.830" v="20" actId="20577"/>
          <ac:spMkLst>
            <pc:docMk/>
            <pc:sldMk cId="2415737977" sldId="1063"/>
            <ac:spMk id="20" creationId="{F5A93634-EFB0-4F1D-8EB9-1AD5FF7384D9}"/>
          </ac:spMkLst>
        </pc:spChg>
        <pc:picChg chg="del">
          <ac:chgData name="Yijun Ma" userId="6b140692-16f7-4f54-a783-028f16aab7b0" providerId="ADAL" clId="{117A35C0-3986-472E-9A56-3EF6DC3C5251}" dt="2020-07-20T20:29:48.167" v="5" actId="478"/>
          <ac:picMkLst>
            <pc:docMk/>
            <pc:sldMk cId="2415737977" sldId="1063"/>
            <ac:picMk id="3" creationId="{46F7ECCE-56B7-49D1-8275-145BAF447F8F}"/>
          </ac:picMkLst>
        </pc:picChg>
        <pc:picChg chg="add mod ord">
          <ac:chgData name="Yijun Ma" userId="6b140692-16f7-4f54-a783-028f16aab7b0" providerId="ADAL" clId="{117A35C0-3986-472E-9A56-3EF6DC3C5251}" dt="2020-07-20T20:29:46.104" v="4" actId="167"/>
          <ac:picMkLst>
            <pc:docMk/>
            <pc:sldMk cId="2415737977" sldId="1063"/>
            <ac:picMk id="5" creationId="{8979EC0E-2467-40FB-8BB6-173E1984E623}"/>
          </ac:picMkLst>
        </pc:picChg>
        <pc:picChg chg="del">
          <ac:chgData name="Yijun Ma" userId="6b140692-16f7-4f54-a783-028f16aab7b0" providerId="ADAL" clId="{117A35C0-3986-472E-9A56-3EF6DC3C5251}" dt="2020-07-20T20:30:05.884" v="7" actId="478"/>
          <ac:picMkLst>
            <pc:docMk/>
            <pc:sldMk cId="2415737977" sldId="1063"/>
            <ac:picMk id="6" creationId="{E2D3134C-C817-4D4A-BE8F-60DF081FF228}"/>
          </ac:picMkLst>
        </pc:picChg>
        <pc:picChg chg="del">
          <ac:chgData name="Yijun Ma" userId="6b140692-16f7-4f54-a783-028f16aab7b0" providerId="ADAL" clId="{117A35C0-3986-472E-9A56-3EF6DC3C5251}" dt="2020-07-20T20:32:17.940" v="18" actId="478"/>
          <ac:picMkLst>
            <pc:docMk/>
            <pc:sldMk cId="2415737977" sldId="1063"/>
            <ac:picMk id="8" creationId="{6669AD7C-4E8F-4097-A751-6EFC8967C75B}"/>
          </ac:picMkLst>
        </pc:picChg>
        <pc:picChg chg="del mod">
          <ac:chgData name="Yijun Ma" userId="6b140692-16f7-4f54-a783-028f16aab7b0" providerId="ADAL" clId="{117A35C0-3986-472E-9A56-3EF6DC3C5251}" dt="2020-07-20T20:32:38.907" v="23" actId="478"/>
          <ac:picMkLst>
            <pc:docMk/>
            <pc:sldMk cId="2415737977" sldId="1063"/>
            <ac:picMk id="9" creationId="{3111B757-094F-4F15-BF40-945D70522CCF}"/>
          </ac:picMkLst>
        </pc:picChg>
        <pc:picChg chg="add mod">
          <ac:chgData name="Yijun Ma" userId="6b140692-16f7-4f54-a783-028f16aab7b0" providerId="ADAL" clId="{117A35C0-3986-472E-9A56-3EF6DC3C5251}" dt="2020-07-20T20:30:18.581" v="10" actId="14100"/>
          <ac:picMkLst>
            <pc:docMk/>
            <pc:sldMk cId="2415737977" sldId="1063"/>
            <ac:picMk id="10" creationId="{9B396F71-6ED7-4BBF-AA58-DFD895F232DF}"/>
          </ac:picMkLst>
        </pc:picChg>
        <pc:picChg chg="add mod ord">
          <ac:chgData name="Yijun Ma" userId="6b140692-16f7-4f54-a783-028f16aab7b0" providerId="ADAL" clId="{117A35C0-3986-472E-9A56-3EF6DC3C5251}" dt="2020-07-20T20:32:16.859" v="17" actId="167"/>
          <ac:picMkLst>
            <pc:docMk/>
            <pc:sldMk cId="2415737977" sldId="1063"/>
            <ac:picMk id="11" creationId="{A399E93C-5CDC-4A90-905C-EAECA2B4F0B7}"/>
          </ac:picMkLst>
        </pc:picChg>
        <pc:picChg chg="add mod">
          <ac:chgData name="Yijun Ma" userId="6b140692-16f7-4f54-a783-028f16aab7b0" providerId="ADAL" clId="{117A35C0-3986-472E-9A56-3EF6DC3C5251}" dt="2020-07-20T20:32:42.096" v="25" actId="14100"/>
          <ac:picMkLst>
            <pc:docMk/>
            <pc:sldMk cId="2415737977" sldId="1063"/>
            <ac:picMk id="12" creationId="{9D23B56C-C102-45EC-B1CB-BC616FF36774}"/>
          </ac:picMkLst>
        </pc:picChg>
      </pc:sldChg>
    </pc:docChg>
  </pc:docChgLst>
  <pc:docChgLst>
    <pc:chgData name="Ruoran Lin (DCP)" userId="5ba63a2c-b5bc-4f17-a87a-a3a824a8af35" providerId="ADAL" clId="{3DC0E580-FA99-CA41-B3AA-496FEFE973AC}"/>
    <pc:docChg chg="undo custSel addSld modSld">
      <pc:chgData name="Ruoran Lin (DCP)" userId="5ba63a2c-b5bc-4f17-a87a-a3a824a8af35" providerId="ADAL" clId="{3DC0E580-FA99-CA41-B3AA-496FEFE973AC}" dt="2020-07-21T21:27:09.331" v="811" actId="20577"/>
      <pc:docMkLst>
        <pc:docMk/>
      </pc:docMkLst>
      <pc:sldChg chg="addSp delSp modSp mod">
        <pc:chgData name="Ruoran Lin (DCP)" userId="5ba63a2c-b5bc-4f17-a87a-a3a824a8af35" providerId="ADAL" clId="{3DC0E580-FA99-CA41-B3AA-496FEFE973AC}" dt="2020-07-21T02:01:05.191" v="497" actId="27918"/>
        <pc:sldMkLst>
          <pc:docMk/>
          <pc:sldMk cId="1155418492" sldId="1026"/>
        </pc:sldMkLst>
        <pc:spChg chg="add mod">
          <ac:chgData name="Ruoran Lin (DCP)" userId="5ba63a2c-b5bc-4f17-a87a-a3a824a8af35" providerId="ADAL" clId="{3DC0E580-FA99-CA41-B3AA-496FEFE973AC}" dt="2020-07-20T17:30:58.923" v="117" actId="403"/>
          <ac:spMkLst>
            <pc:docMk/>
            <pc:sldMk cId="1155418492" sldId="1026"/>
            <ac:spMk id="3" creationId="{BBA8076B-4D10-634F-972C-D2D3F837C929}"/>
          </ac:spMkLst>
        </pc:spChg>
        <pc:spChg chg="mod">
          <ac:chgData name="Ruoran Lin (DCP)" userId="5ba63a2c-b5bc-4f17-a87a-a3a824a8af35" providerId="ADAL" clId="{3DC0E580-FA99-CA41-B3AA-496FEFE973AC}" dt="2020-07-21T01:38:14.897" v="220" actId="20577"/>
          <ac:spMkLst>
            <pc:docMk/>
            <pc:sldMk cId="1155418492" sldId="1026"/>
            <ac:spMk id="6" creationId="{6112D5FE-E18B-6A43-BA78-7662CB7AF3D1}"/>
          </ac:spMkLst>
        </pc:spChg>
        <pc:spChg chg="mod">
          <ac:chgData name="Ruoran Lin (DCP)" userId="5ba63a2c-b5bc-4f17-a87a-a3a824a8af35" providerId="ADAL" clId="{3DC0E580-FA99-CA41-B3AA-496FEFE973AC}" dt="2020-07-21T01:47:43.058" v="376" actId="14100"/>
          <ac:spMkLst>
            <pc:docMk/>
            <pc:sldMk cId="1155418492" sldId="1026"/>
            <ac:spMk id="7" creationId="{5DD5AC5F-360F-8042-AE73-AF91185B9B19}"/>
          </ac:spMkLst>
        </pc:spChg>
        <pc:graphicFrameChg chg="add mod">
          <ac:chgData name="Ruoran Lin (DCP)" userId="5ba63a2c-b5bc-4f17-a87a-a3a824a8af35" providerId="ADAL" clId="{3DC0E580-FA99-CA41-B3AA-496FEFE973AC}" dt="2020-07-21T01:47:39.420" v="375" actId="167"/>
          <ac:graphicFrameMkLst>
            <pc:docMk/>
            <pc:sldMk cId="1155418492" sldId="1026"/>
            <ac:graphicFrameMk id="9" creationId="{68EDFA0D-7AE0-AF44-9360-4F25F694E1CE}"/>
          </ac:graphicFrameMkLst>
        </pc:graphicFrameChg>
        <pc:graphicFrameChg chg="add mod">
          <ac:chgData name="Ruoran Lin (DCP)" userId="5ba63a2c-b5bc-4f17-a87a-a3a824a8af35" providerId="ADAL" clId="{3DC0E580-FA99-CA41-B3AA-496FEFE973AC}" dt="2020-07-21T01:34:12.118" v="136" actId="1582"/>
          <ac:graphicFrameMkLst>
            <pc:docMk/>
            <pc:sldMk cId="1155418492" sldId="1026"/>
            <ac:graphicFrameMk id="11" creationId="{519EE0ED-7A72-3348-8735-5519A41EDCB8}"/>
          </ac:graphicFrameMkLst>
        </pc:graphicFrameChg>
        <pc:picChg chg="del">
          <ac:chgData name="Ruoran Lin (DCP)" userId="5ba63a2c-b5bc-4f17-a87a-a3a824a8af35" providerId="ADAL" clId="{3DC0E580-FA99-CA41-B3AA-496FEFE973AC}" dt="2020-07-21T01:32:37.390" v="118" actId="478"/>
          <ac:picMkLst>
            <pc:docMk/>
            <pc:sldMk cId="1155418492" sldId="1026"/>
            <ac:picMk id="8" creationId="{7517867A-91F5-4DB7-B1EF-121EDDEF9A4E}"/>
          </ac:picMkLst>
        </pc:picChg>
        <pc:picChg chg="del">
          <ac:chgData name="Ruoran Lin (DCP)" userId="5ba63a2c-b5bc-4f17-a87a-a3a824a8af35" providerId="ADAL" clId="{3DC0E580-FA99-CA41-B3AA-496FEFE973AC}" dt="2020-07-21T01:32:38.534" v="119" actId="478"/>
          <ac:picMkLst>
            <pc:docMk/>
            <pc:sldMk cId="1155418492" sldId="1026"/>
            <ac:picMk id="12" creationId="{2BD5E4AC-150E-4738-9D65-46BDDB237E58}"/>
          </ac:picMkLst>
        </pc:picChg>
      </pc:sldChg>
      <pc:sldChg chg="addSp delSp modSp mod">
        <pc:chgData name="Ruoran Lin (DCP)" userId="5ba63a2c-b5bc-4f17-a87a-a3a824a8af35" providerId="ADAL" clId="{3DC0E580-FA99-CA41-B3AA-496FEFE973AC}" dt="2020-07-21T01:47:21.467" v="374" actId="14100"/>
        <pc:sldMkLst>
          <pc:docMk/>
          <pc:sldMk cId="1049441131" sldId="1040"/>
        </pc:sldMkLst>
        <pc:spChg chg="mod">
          <ac:chgData name="Ruoran Lin (DCP)" userId="5ba63a2c-b5bc-4f17-a87a-a3a824a8af35" providerId="ADAL" clId="{3DC0E580-FA99-CA41-B3AA-496FEFE973AC}" dt="2020-07-21T01:47:21.467" v="374" actId="14100"/>
          <ac:spMkLst>
            <pc:docMk/>
            <pc:sldMk cId="1049441131" sldId="1040"/>
            <ac:spMk id="14" creationId="{437F0068-2F47-8346-A239-A480DB4C0B54}"/>
          </ac:spMkLst>
        </pc:spChg>
        <pc:graphicFrameChg chg="add mod">
          <ac:chgData name="Ruoran Lin (DCP)" userId="5ba63a2c-b5bc-4f17-a87a-a3a824a8af35" providerId="ADAL" clId="{3DC0E580-FA99-CA41-B3AA-496FEFE973AC}" dt="2020-07-21T01:35:00.342" v="145" actId="167"/>
          <ac:graphicFrameMkLst>
            <pc:docMk/>
            <pc:sldMk cId="1049441131" sldId="1040"/>
            <ac:graphicFrameMk id="9" creationId="{CFFA1B36-5CB1-D24F-9F81-D8B570EAAA25}"/>
          </ac:graphicFrameMkLst>
        </pc:graphicFrameChg>
        <pc:graphicFrameChg chg="add mod">
          <ac:chgData name="Ruoran Lin (DCP)" userId="5ba63a2c-b5bc-4f17-a87a-a3a824a8af35" providerId="ADAL" clId="{3DC0E580-FA99-CA41-B3AA-496FEFE973AC}" dt="2020-07-21T01:35:41.545" v="153" actId="1582"/>
          <ac:graphicFrameMkLst>
            <pc:docMk/>
            <pc:sldMk cId="1049441131" sldId="1040"/>
            <ac:graphicFrameMk id="10" creationId="{C74309F3-BD2E-054F-AD89-8707F08964FA}"/>
          </ac:graphicFrameMkLst>
        </pc:graphicFrameChg>
        <pc:picChg chg="del">
          <ac:chgData name="Ruoran Lin (DCP)" userId="5ba63a2c-b5bc-4f17-a87a-a3a824a8af35" providerId="ADAL" clId="{3DC0E580-FA99-CA41-B3AA-496FEFE973AC}" dt="2020-07-21T01:34:14.726" v="137" actId="478"/>
          <ac:picMkLst>
            <pc:docMk/>
            <pc:sldMk cId="1049441131" sldId="1040"/>
            <ac:picMk id="3" creationId="{A8E3DD5A-B268-4874-BEB9-CD04B3F76D86}"/>
          </ac:picMkLst>
        </pc:picChg>
        <pc:picChg chg="del">
          <ac:chgData name="Ruoran Lin (DCP)" userId="5ba63a2c-b5bc-4f17-a87a-a3a824a8af35" providerId="ADAL" clId="{3DC0E580-FA99-CA41-B3AA-496FEFE973AC}" dt="2020-07-21T01:34:16.397" v="138" actId="478"/>
          <ac:picMkLst>
            <pc:docMk/>
            <pc:sldMk cId="1049441131" sldId="1040"/>
            <ac:picMk id="6" creationId="{2021897C-71A7-4C60-8C94-E8C625B77506}"/>
          </ac:picMkLst>
        </pc:picChg>
      </pc:sldChg>
      <pc:sldChg chg="addSp delSp modSp mod">
        <pc:chgData name="Ruoran Lin (DCP)" userId="5ba63a2c-b5bc-4f17-a87a-a3a824a8af35" providerId="ADAL" clId="{3DC0E580-FA99-CA41-B3AA-496FEFE973AC}" dt="2020-07-21T01:53:19.712" v="463" actId="20577"/>
        <pc:sldMkLst>
          <pc:docMk/>
          <pc:sldMk cId="2855638099" sldId="1089"/>
        </pc:sldMkLst>
        <pc:spChg chg="mod">
          <ac:chgData name="Ruoran Lin (DCP)" userId="5ba63a2c-b5bc-4f17-a87a-a3a824a8af35" providerId="ADAL" clId="{3DC0E580-FA99-CA41-B3AA-496FEFE973AC}" dt="2020-07-21T01:53:19.712" v="463" actId="20577"/>
          <ac:spMkLst>
            <pc:docMk/>
            <pc:sldMk cId="2855638099" sldId="1089"/>
            <ac:spMk id="8" creationId="{B4306CB6-AC48-1546-B565-FD067D80C14C}"/>
          </ac:spMkLst>
        </pc:spChg>
        <pc:spChg chg="mod">
          <ac:chgData name="Ruoran Lin (DCP)" userId="5ba63a2c-b5bc-4f17-a87a-a3a824a8af35" providerId="ADAL" clId="{3DC0E580-FA99-CA41-B3AA-496FEFE973AC}" dt="2020-07-21T01:49:38.081" v="401" actId="14100"/>
          <ac:spMkLst>
            <pc:docMk/>
            <pc:sldMk cId="2855638099" sldId="1089"/>
            <ac:spMk id="14" creationId="{437F0068-2F47-8346-A239-A480DB4C0B54}"/>
          </ac:spMkLst>
        </pc:spChg>
        <pc:graphicFrameChg chg="add mod">
          <ac:chgData name="Ruoran Lin (DCP)" userId="5ba63a2c-b5bc-4f17-a87a-a3a824a8af35" providerId="ADAL" clId="{3DC0E580-FA99-CA41-B3AA-496FEFE973AC}" dt="2020-07-21T01:51:23.120" v="421" actId="255"/>
          <ac:graphicFrameMkLst>
            <pc:docMk/>
            <pc:sldMk cId="2855638099" sldId="1089"/>
            <ac:graphicFrameMk id="11" creationId="{FDFB51FB-6C34-BA4D-966D-38B3F4DE955A}"/>
          </ac:graphicFrameMkLst>
        </pc:graphicFrameChg>
        <pc:graphicFrameChg chg="add del mod">
          <ac:chgData name="Ruoran Lin (DCP)" userId="5ba63a2c-b5bc-4f17-a87a-a3a824a8af35" providerId="ADAL" clId="{3DC0E580-FA99-CA41-B3AA-496FEFE973AC}" dt="2020-07-21T01:50:37.386" v="410" actId="478"/>
          <ac:graphicFrameMkLst>
            <pc:docMk/>
            <pc:sldMk cId="2855638099" sldId="1089"/>
            <ac:graphicFrameMk id="12" creationId="{3493FB8C-B80D-B544-A011-D64761D96A7B}"/>
          </ac:graphicFrameMkLst>
        </pc:graphicFrameChg>
        <pc:graphicFrameChg chg="add mod">
          <ac:chgData name="Ruoran Lin (DCP)" userId="5ba63a2c-b5bc-4f17-a87a-a3a824a8af35" providerId="ADAL" clId="{3DC0E580-FA99-CA41-B3AA-496FEFE973AC}" dt="2020-07-21T01:50:59.317" v="418"/>
          <ac:graphicFrameMkLst>
            <pc:docMk/>
            <pc:sldMk cId="2855638099" sldId="1089"/>
            <ac:graphicFrameMk id="13" creationId="{3493FB8C-B80D-B544-A011-D64761D96A7B}"/>
          </ac:graphicFrameMkLst>
        </pc:graphicFrameChg>
        <pc:graphicFrameChg chg="del">
          <ac:chgData name="Ruoran Lin (DCP)" userId="5ba63a2c-b5bc-4f17-a87a-a3a824a8af35" providerId="ADAL" clId="{3DC0E580-FA99-CA41-B3AA-496FEFE973AC}" dt="2020-07-21T01:49:13.942" v="394" actId="478"/>
          <ac:graphicFrameMkLst>
            <pc:docMk/>
            <pc:sldMk cId="2855638099" sldId="1089"/>
            <ac:graphicFrameMk id="15" creationId="{FDFB51FB-6C34-BA4D-966D-38B3F4DE955A}"/>
          </ac:graphicFrameMkLst>
        </pc:graphicFrameChg>
        <pc:graphicFrameChg chg="del">
          <ac:chgData name="Ruoran Lin (DCP)" userId="5ba63a2c-b5bc-4f17-a87a-a3a824a8af35" providerId="ADAL" clId="{3DC0E580-FA99-CA41-B3AA-496FEFE973AC}" dt="2020-07-21T01:49:40.616" v="402" actId="478"/>
          <ac:graphicFrameMkLst>
            <pc:docMk/>
            <pc:sldMk cId="2855638099" sldId="1089"/>
            <ac:graphicFrameMk id="16" creationId="{3493FB8C-B80D-B544-A011-D64761D96A7B}"/>
          </ac:graphicFrameMkLst>
        </pc:graphicFrameChg>
      </pc:sldChg>
      <pc:sldChg chg="addSp delSp modSp mod">
        <pc:chgData name="Ruoran Lin (DCP)" userId="5ba63a2c-b5bc-4f17-a87a-a3a824a8af35" providerId="ADAL" clId="{3DC0E580-FA99-CA41-B3AA-496FEFE973AC}" dt="2020-07-21T01:59:56.338" v="495" actId="20577"/>
        <pc:sldMkLst>
          <pc:docMk/>
          <pc:sldMk cId="2535481493" sldId="1116"/>
        </pc:sldMkLst>
        <pc:spChg chg="mod">
          <ac:chgData name="Ruoran Lin (DCP)" userId="5ba63a2c-b5bc-4f17-a87a-a3a824a8af35" providerId="ADAL" clId="{3DC0E580-FA99-CA41-B3AA-496FEFE973AC}" dt="2020-07-21T01:59:56.338" v="495" actId="20577"/>
          <ac:spMkLst>
            <pc:docMk/>
            <pc:sldMk cId="2535481493" sldId="1116"/>
            <ac:spMk id="8" creationId="{B4306CB6-AC48-1546-B565-FD067D80C14C}"/>
          </ac:spMkLst>
        </pc:spChg>
        <pc:graphicFrameChg chg="add mod">
          <ac:chgData name="Ruoran Lin (DCP)" userId="5ba63a2c-b5bc-4f17-a87a-a3a824a8af35" providerId="ADAL" clId="{3DC0E580-FA99-CA41-B3AA-496FEFE973AC}" dt="2020-07-21T01:59:26.779" v="485"/>
          <ac:graphicFrameMkLst>
            <pc:docMk/>
            <pc:sldMk cId="2535481493" sldId="1116"/>
            <ac:graphicFrameMk id="7" creationId="{7CA9D784-8A66-BF44-A6EA-3D4DAC7EF62A}"/>
          </ac:graphicFrameMkLst>
        </pc:graphicFrameChg>
        <pc:graphicFrameChg chg="del mod">
          <ac:chgData name="Ruoran Lin (DCP)" userId="5ba63a2c-b5bc-4f17-a87a-a3a824a8af35" providerId="ADAL" clId="{3DC0E580-FA99-CA41-B3AA-496FEFE973AC}" dt="2020-07-21T01:58:51.072" v="464" actId="478"/>
          <ac:graphicFrameMkLst>
            <pc:docMk/>
            <pc:sldMk cId="2535481493" sldId="1116"/>
            <ac:graphicFrameMk id="10" creationId="{7CA9D784-8A66-BF44-A6EA-3D4DAC7EF62A}"/>
          </ac:graphicFrameMkLst>
        </pc:graphicFrameChg>
      </pc:sldChg>
      <pc:sldChg chg="addSp delSp modSp mod">
        <pc:chgData name="Ruoran Lin (DCP)" userId="5ba63a2c-b5bc-4f17-a87a-a3a824a8af35" providerId="ADAL" clId="{3DC0E580-FA99-CA41-B3AA-496FEFE973AC}" dt="2020-07-21T01:48:59.034" v="393"/>
        <pc:sldMkLst>
          <pc:docMk/>
          <pc:sldMk cId="423080654" sldId="1117"/>
        </pc:sldMkLst>
        <pc:spChg chg="mod">
          <ac:chgData name="Ruoran Lin (DCP)" userId="5ba63a2c-b5bc-4f17-a87a-a3a824a8af35" providerId="ADAL" clId="{3DC0E580-FA99-CA41-B3AA-496FEFE973AC}" dt="2020-07-21T01:43:54.155" v="351" actId="20577"/>
          <ac:spMkLst>
            <pc:docMk/>
            <pc:sldMk cId="423080654" sldId="1117"/>
            <ac:spMk id="2" creationId="{AFF6A9B6-BBBB-4C91-BB36-53BD5FAB6C0D}"/>
          </ac:spMkLst>
        </pc:spChg>
        <pc:spChg chg="mod">
          <ac:chgData name="Ruoran Lin (DCP)" userId="5ba63a2c-b5bc-4f17-a87a-a3a824a8af35" providerId="ADAL" clId="{3DC0E580-FA99-CA41-B3AA-496FEFE973AC}" dt="2020-07-21T01:44:46.616" v="357" actId="20577"/>
          <ac:spMkLst>
            <pc:docMk/>
            <pc:sldMk cId="423080654" sldId="1117"/>
            <ac:spMk id="5" creationId="{96C384E0-20DE-4763-A9A3-2599802CC195}"/>
          </ac:spMkLst>
        </pc:spChg>
        <pc:spChg chg="mod">
          <ac:chgData name="Ruoran Lin (DCP)" userId="5ba63a2c-b5bc-4f17-a87a-a3a824a8af35" providerId="ADAL" clId="{3DC0E580-FA99-CA41-B3AA-496FEFE973AC}" dt="2020-07-21T01:48:27.363" v="391" actId="20577"/>
          <ac:spMkLst>
            <pc:docMk/>
            <pc:sldMk cId="423080654" sldId="1117"/>
            <ac:spMk id="8" creationId="{B4306CB6-AC48-1546-B565-FD067D80C14C}"/>
          </ac:spMkLst>
        </pc:spChg>
        <pc:spChg chg="mod">
          <ac:chgData name="Ruoran Lin (DCP)" userId="5ba63a2c-b5bc-4f17-a87a-a3a824a8af35" providerId="ADAL" clId="{3DC0E580-FA99-CA41-B3AA-496FEFE973AC}" dt="2020-07-21T01:46:53.717" v="371" actId="14100"/>
          <ac:spMkLst>
            <pc:docMk/>
            <pc:sldMk cId="423080654" sldId="1117"/>
            <ac:spMk id="14" creationId="{437F0068-2F47-8346-A239-A480DB4C0B54}"/>
          </ac:spMkLst>
        </pc:spChg>
        <pc:graphicFrameChg chg="add mod">
          <ac:chgData name="Ruoran Lin (DCP)" userId="5ba63a2c-b5bc-4f17-a87a-a3a824a8af35" providerId="ADAL" clId="{3DC0E580-FA99-CA41-B3AA-496FEFE973AC}" dt="2020-07-21T01:48:54.184" v="392"/>
          <ac:graphicFrameMkLst>
            <pc:docMk/>
            <pc:sldMk cId="423080654" sldId="1117"/>
            <ac:graphicFrameMk id="9" creationId="{CF9C6408-D442-3F4B-BC9E-BBA8FF4D2B0C}"/>
          </ac:graphicFrameMkLst>
        </pc:graphicFrameChg>
        <pc:graphicFrameChg chg="add mod">
          <ac:chgData name="Ruoran Lin (DCP)" userId="5ba63a2c-b5bc-4f17-a87a-a3a824a8af35" providerId="ADAL" clId="{3DC0E580-FA99-CA41-B3AA-496FEFE973AC}" dt="2020-07-21T01:48:59.034" v="393"/>
          <ac:graphicFrameMkLst>
            <pc:docMk/>
            <pc:sldMk cId="423080654" sldId="1117"/>
            <ac:graphicFrameMk id="10" creationId="{CBDF49BE-05E1-D947-9E53-6A95B9817C41}"/>
          </ac:graphicFrameMkLst>
        </pc:graphicFrameChg>
        <pc:picChg chg="del">
          <ac:chgData name="Ruoran Lin (DCP)" userId="5ba63a2c-b5bc-4f17-a87a-a3a824a8af35" providerId="ADAL" clId="{3DC0E580-FA99-CA41-B3AA-496FEFE973AC}" dt="2020-07-21T01:43:40.074" v="325" actId="478"/>
          <ac:picMkLst>
            <pc:docMk/>
            <pc:sldMk cId="423080654" sldId="1117"/>
            <ac:picMk id="3" creationId="{A8E3DD5A-B268-4874-BEB9-CD04B3F76D86}"/>
          </ac:picMkLst>
        </pc:picChg>
        <pc:picChg chg="del">
          <ac:chgData name="Ruoran Lin (DCP)" userId="5ba63a2c-b5bc-4f17-a87a-a3a824a8af35" providerId="ADAL" clId="{3DC0E580-FA99-CA41-B3AA-496FEFE973AC}" dt="2020-07-21T01:43:41.567" v="326" actId="478"/>
          <ac:picMkLst>
            <pc:docMk/>
            <pc:sldMk cId="423080654" sldId="1117"/>
            <ac:picMk id="6" creationId="{2021897C-71A7-4C60-8C94-E8C625B77506}"/>
          </ac:picMkLst>
        </pc:picChg>
      </pc:sldChg>
      <pc:sldChg chg="addSp delSp modSp mod">
        <pc:chgData name="Ruoran Lin (DCP)" userId="5ba63a2c-b5bc-4f17-a87a-a3a824a8af35" providerId="ADAL" clId="{3DC0E580-FA99-CA41-B3AA-496FEFE973AC}" dt="2020-07-21T01:52:50.061" v="433" actId="20577"/>
        <pc:sldMkLst>
          <pc:docMk/>
          <pc:sldMk cId="1462918329" sldId="1118"/>
        </pc:sldMkLst>
        <pc:spChg chg="mod">
          <ac:chgData name="Ruoran Lin (DCP)" userId="5ba63a2c-b5bc-4f17-a87a-a3a824a8af35" providerId="ADAL" clId="{3DC0E580-FA99-CA41-B3AA-496FEFE973AC}" dt="2020-07-21T01:52:50.061" v="433" actId="20577"/>
          <ac:spMkLst>
            <pc:docMk/>
            <pc:sldMk cId="1462918329" sldId="1118"/>
            <ac:spMk id="6" creationId="{6112D5FE-E18B-6A43-BA78-7662CB7AF3D1}"/>
          </ac:spMkLst>
        </pc:spChg>
        <pc:spChg chg="mod">
          <ac:chgData name="Ruoran Lin (DCP)" userId="5ba63a2c-b5bc-4f17-a87a-a3a824a8af35" providerId="ADAL" clId="{3DC0E580-FA99-CA41-B3AA-496FEFE973AC}" dt="2020-07-21T01:47:13.131" v="373" actId="14100"/>
          <ac:spMkLst>
            <pc:docMk/>
            <pc:sldMk cId="1462918329" sldId="1118"/>
            <ac:spMk id="7" creationId="{5DD5AC5F-360F-8042-AE73-AF91185B9B19}"/>
          </ac:spMkLst>
        </pc:spChg>
        <pc:spChg chg="mod">
          <ac:chgData name="Ruoran Lin (DCP)" userId="5ba63a2c-b5bc-4f17-a87a-a3a824a8af35" providerId="ADAL" clId="{3DC0E580-FA99-CA41-B3AA-496FEFE973AC}" dt="2020-07-21T01:39:35.043" v="232" actId="108"/>
          <ac:spMkLst>
            <pc:docMk/>
            <pc:sldMk cId="1462918329" sldId="1118"/>
            <ac:spMk id="10" creationId="{FE15DC25-7282-4E24-BEC3-A8CE6DA6D05B}"/>
          </ac:spMkLst>
        </pc:spChg>
        <pc:graphicFrameChg chg="add mod">
          <ac:chgData name="Ruoran Lin (DCP)" userId="5ba63a2c-b5bc-4f17-a87a-a3a824a8af35" providerId="ADAL" clId="{3DC0E580-FA99-CA41-B3AA-496FEFE973AC}" dt="2020-07-21T01:41:09.198" v="281" actId="255"/>
          <ac:graphicFrameMkLst>
            <pc:docMk/>
            <pc:sldMk cId="1462918329" sldId="1118"/>
            <ac:graphicFrameMk id="9" creationId="{09E4867E-86BF-F842-86A3-FA8343B6AC69}"/>
          </ac:graphicFrameMkLst>
        </pc:graphicFrameChg>
        <pc:graphicFrameChg chg="add mod">
          <ac:chgData name="Ruoran Lin (DCP)" userId="5ba63a2c-b5bc-4f17-a87a-a3a824a8af35" providerId="ADAL" clId="{3DC0E580-FA99-CA41-B3AA-496FEFE973AC}" dt="2020-07-21T01:36:46.982" v="169" actId="1582"/>
          <ac:graphicFrameMkLst>
            <pc:docMk/>
            <pc:sldMk cId="1462918329" sldId="1118"/>
            <ac:graphicFrameMk id="11" creationId="{9BDD3167-C185-E640-8474-A9E5E82FE47E}"/>
          </ac:graphicFrameMkLst>
        </pc:graphicFrameChg>
        <pc:picChg chg="del">
          <ac:chgData name="Ruoran Lin (DCP)" userId="5ba63a2c-b5bc-4f17-a87a-a3a824a8af35" providerId="ADAL" clId="{3DC0E580-FA99-CA41-B3AA-496FEFE973AC}" dt="2020-07-21T01:35:46.489" v="154" actId="478"/>
          <ac:picMkLst>
            <pc:docMk/>
            <pc:sldMk cId="1462918329" sldId="1118"/>
            <ac:picMk id="3" creationId="{9B59E9CE-BB0B-453C-B6A2-F3D429D73823}"/>
          </ac:picMkLst>
        </pc:picChg>
        <pc:picChg chg="del">
          <ac:chgData name="Ruoran Lin (DCP)" userId="5ba63a2c-b5bc-4f17-a87a-a3a824a8af35" providerId="ADAL" clId="{3DC0E580-FA99-CA41-B3AA-496FEFE973AC}" dt="2020-07-21T01:35:47.726" v="155" actId="478"/>
          <ac:picMkLst>
            <pc:docMk/>
            <pc:sldMk cId="1462918329" sldId="1118"/>
            <ac:picMk id="5" creationId="{5C1F5393-4FFA-447F-AE8F-D1B7DAD49F20}"/>
          </ac:picMkLst>
        </pc:picChg>
      </pc:sldChg>
      <pc:sldChg chg="addSp delSp modSp mod setBg">
        <pc:chgData name="Ruoran Lin (DCP)" userId="5ba63a2c-b5bc-4f17-a87a-a3a824a8af35" providerId="ADAL" clId="{3DC0E580-FA99-CA41-B3AA-496FEFE973AC}" dt="2020-07-21T01:47:06.193" v="372" actId="14100"/>
        <pc:sldMkLst>
          <pc:docMk/>
          <pc:sldMk cId="2318289709" sldId="1119"/>
        </pc:sldMkLst>
        <pc:spChg chg="mod">
          <ac:chgData name="Ruoran Lin (DCP)" userId="5ba63a2c-b5bc-4f17-a87a-a3a824a8af35" providerId="ADAL" clId="{3DC0E580-FA99-CA41-B3AA-496FEFE973AC}" dt="2020-07-21T01:40:11.203" v="269" actId="20577"/>
          <ac:spMkLst>
            <pc:docMk/>
            <pc:sldMk cId="2318289709" sldId="1119"/>
            <ac:spMk id="2" creationId="{AFF6A9B6-BBBB-4C91-BB36-53BD5FAB6C0D}"/>
          </ac:spMkLst>
        </pc:spChg>
        <pc:spChg chg="mod">
          <ac:chgData name="Ruoran Lin (DCP)" userId="5ba63a2c-b5bc-4f17-a87a-a3a824a8af35" providerId="ADAL" clId="{3DC0E580-FA99-CA41-B3AA-496FEFE973AC}" dt="2020-07-21T01:42:54.723" v="304" actId="20577"/>
          <ac:spMkLst>
            <pc:docMk/>
            <pc:sldMk cId="2318289709" sldId="1119"/>
            <ac:spMk id="6" creationId="{6112D5FE-E18B-6A43-BA78-7662CB7AF3D1}"/>
          </ac:spMkLst>
        </pc:spChg>
        <pc:spChg chg="mod">
          <ac:chgData name="Ruoran Lin (DCP)" userId="5ba63a2c-b5bc-4f17-a87a-a3a824a8af35" providerId="ADAL" clId="{3DC0E580-FA99-CA41-B3AA-496FEFE973AC}" dt="2020-07-21T01:47:06.193" v="372" actId="14100"/>
          <ac:spMkLst>
            <pc:docMk/>
            <pc:sldMk cId="2318289709" sldId="1119"/>
            <ac:spMk id="7" creationId="{5DD5AC5F-360F-8042-AE73-AF91185B9B19}"/>
          </ac:spMkLst>
        </pc:spChg>
        <pc:spChg chg="mod">
          <ac:chgData name="Ruoran Lin (DCP)" userId="5ba63a2c-b5bc-4f17-a87a-a3a824a8af35" providerId="ADAL" clId="{3DC0E580-FA99-CA41-B3AA-496FEFE973AC}" dt="2020-07-21T01:44:24.114" v="353" actId="108"/>
          <ac:spMkLst>
            <pc:docMk/>
            <pc:sldMk cId="2318289709" sldId="1119"/>
            <ac:spMk id="10" creationId="{FE15DC25-7282-4E24-BEC3-A8CE6DA6D05B}"/>
          </ac:spMkLst>
        </pc:spChg>
        <pc:graphicFrameChg chg="add mod">
          <ac:chgData name="Ruoran Lin (DCP)" userId="5ba63a2c-b5bc-4f17-a87a-a3a824a8af35" providerId="ADAL" clId="{3DC0E580-FA99-CA41-B3AA-496FEFE973AC}" dt="2020-07-21T01:46:37.630" v="369"/>
          <ac:graphicFrameMkLst>
            <pc:docMk/>
            <pc:sldMk cId="2318289709" sldId="1119"/>
            <ac:graphicFrameMk id="9" creationId="{314DAC1C-7548-AD43-847D-4D92A07546B4}"/>
          </ac:graphicFrameMkLst>
        </pc:graphicFrameChg>
        <pc:graphicFrameChg chg="add mod">
          <ac:chgData name="Ruoran Lin (DCP)" userId="5ba63a2c-b5bc-4f17-a87a-a3a824a8af35" providerId="ADAL" clId="{3DC0E580-FA99-CA41-B3AA-496FEFE973AC}" dt="2020-07-21T01:46:43.431" v="370"/>
          <ac:graphicFrameMkLst>
            <pc:docMk/>
            <pc:sldMk cId="2318289709" sldId="1119"/>
            <ac:graphicFrameMk id="11" creationId="{013EBD7A-8F34-E341-9996-60CA6B2E0C8E}"/>
          </ac:graphicFrameMkLst>
        </pc:graphicFrameChg>
        <pc:picChg chg="del">
          <ac:chgData name="Ruoran Lin (DCP)" userId="5ba63a2c-b5bc-4f17-a87a-a3a824a8af35" providerId="ADAL" clId="{3DC0E580-FA99-CA41-B3AA-496FEFE973AC}" dt="2020-07-21T01:39:42.589" v="233" actId="478"/>
          <ac:picMkLst>
            <pc:docMk/>
            <pc:sldMk cId="2318289709" sldId="1119"/>
            <ac:picMk id="8" creationId="{7517867A-91F5-4DB7-B1EF-121EDDEF9A4E}"/>
          </ac:picMkLst>
        </pc:picChg>
        <pc:picChg chg="del">
          <ac:chgData name="Ruoran Lin (DCP)" userId="5ba63a2c-b5bc-4f17-a87a-a3a824a8af35" providerId="ADAL" clId="{3DC0E580-FA99-CA41-B3AA-496FEFE973AC}" dt="2020-07-21T01:39:43.888" v="234" actId="478"/>
          <ac:picMkLst>
            <pc:docMk/>
            <pc:sldMk cId="2318289709" sldId="1119"/>
            <ac:picMk id="12" creationId="{2BD5E4AC-150E-4738-9D65-46BDDB237E58}"/>
          </ac:picMkLst>
        </pc:picChg>
      </pc:sldChg>
    </pc:docChg>
  </pc:docChgLst>
  <pc:docChgLst>
    <pc:chgData clId="Web-{A7D702E1-C313-E513-5A6B-DA3563BC2C15}"/>
    <pc:docChg chg="">
      <pc:chgData name="" userId="" providerId="" clId="Web-{A7D702E1-C313-E513-5A6B-DA3563BC2C15}" dt="2020-07-21T20:14:04.946" v="4"/>
      <pc:docMkLst>
        <pc:docMk/>
      </pc:docMkLst>
      <pc:sldChg chg="addCm">
        <pc:chgData name="" userId="" providerId="" clId="Web-{A7D702E1-C313-E513-5A6B-DA3563BC2C15}" dt="2020-07-21T20:08:14.726" v="0"/>
        <pc:sldMkLst>
          <pc:docMk/>
          <pc:sldMk cId="1905173972" sldId="1021"/>
        </pc:sldMkLst>
      </pc:sldChg>
    </pc:docChg>
  </pc:docChgLst>
  <pc:docChgLst>
    <pc:chgData clId="Web-{73587153-053D-BAC1-CC1C-91D461EE5698}"/>
    <pc:docChg chg="modSld">
      <pc:chgData name="" userId="" providerId="" clId="Web-{73587153-053D-BAC1-CC1C-91D461EE5698}" dt="2020-07-14T22:27:47.132" v="0" actId="1076"/>
      <pc:docMkLst>
        <pc:docMk/>
      </pc:docMkLst>
    </pc:docChg>
  </pc:docChgLst>
  <pc:docChgLst>
    <pc:chgData clId="Web-{07D34FE1-B5F3-4916-2398-C818A831A540}"/>
    <pc:docChg chg="">
      <pc:chgData name="" userId="" providerId="" clId="Web-{07D34FE1-B5F3-4916-2398-C818A831A540}" dt="2020-07-21T19:17:30.569" v="0"/>
      <pc:docMkLst>
        <pc:docMk/>
      </pc:docMkLst>
      <pc:sldChg chg="addCm">
        <pc:chgData name="" userId="" providerId="" clId="Web-{07D34FE1-B5F3-4916-2398-C818A831A540}" dt="2020-07-21T19:17:30.569" v="0"/>
        <pc:sldMkLst>
          <pc:docMk/>
          <pc:sldMk cId="2318289709" sldId="1119"/>
        </pc:sldMkLst>
      </pc:sldChg>
    </pc:docChg>
  </pc:docChgLst>
  <pc:docChgLst>
    <pc:chgData clId="Web-{32ACA3D4-EB1B-5D11-1C4A-18F308BB5DA5}"/>
    <pc:docChg chg="modSld">
      <pc:chgData name="" userId="" providerId="" clId="Web-{32ACA3D4-EB1B-5D11-1C4A-18F308BB5DA5}" dt="2020-07-21T19:27:46.597" v="3"/>
      <pc:docMkLst>
        <pc:docMk/>
      </pc:docMkLst>
      <pc:sldChg chg="addCm">
        <pc:chgData name="" userId="" providerId="" clId="Web-{32ACA3D4-EB1B-5D11-1C4A-18F308BB5DA5}" dt="2020-07-21T19:27:46.597" v="3"/>
        <pc:sldMkLst>
          <pc:docMk/>
          <pc:sldMk cId="1519931681" sldId="923"/>
        </pc:sldMkLst>
      </pc:sldChg>
      <pc:sldChg chg="modSp addCm">
        <pc:chgData name="" userId="" providerId="" clId="Web-{32ACA3D4-EB1B-5D11-1C4A-18F308BB5DA5}" dt="2020-07-21T19:19:17.325" v="1"/>
        <pc:sldMkLst>
          <pc:docMk/>
          <pc:sldMk cId="1462918329" sldId="1118"/>
        </pc:sldMkLst>
        <pc:spChg chg="mod">
          <ac:chgData name="" userId="" providerId="" clId="Web-{32ACA3D4-EB1B-5D11-1C4A-18F308BB5DA5}" dt="2020-07-21T19:18:07.492" v="0" actId="1076"/>
          <ac:spMkLst>
            <pc:docMk/>
            <pc:sldMk cId="1462918329" sldId="1118"/>
            <ac:spMk id="6" creationId="{6112D5FE-E18B-6A43-BA78-7662CB7AF3D1}"/>
          </ac:spMkLst>
        </pc:spChg>
      </pc:sldChg>
    </pc:docChg>
  </pc:docChgLst>
  <pc:docChgLst>
    <pc:chgData clId="Web-{1DD362E4-3792-E2E2-4D0B-7D0D34E398AD}"/>
    <pc:docChg chg="">
      <pc:chgData name="" userId="" providerId="" clId="Web-{1DD362E4-3792-E2E2-4D0B-7D0D34E398AD}" dt="2020-07-28T23:36:44.501" v="1"/>
      <pc:docMkLst>
        <pc:docMk/>
      </pc:docMkLst>
      <pc:sldChg chg="addCm">
        <pc:chgData name="" userId="" providerId="" clId="Web-{1DD362E4-3792-E2E2-4D0B-7D0D34E398AD}" dt="2020-07-28T23:34:09.146" v="0"/>
        <pc:sldMkLst>
          <pc:docMk/>
          <pc:sldMk cId="3893609620" sldId="945"/>
        </pc:sldMkLst>
      </pc:sldChg>
    </pc:docChg>
  </pc:docChgLst>
  <pc:docChgLst>
    <pc:chgData name="Laura Smith (DCP)" userId="04d996ad-c8c0-4279-84c0-115ebcf63bba" providerId="ADAL" clId="{A0172E68-F658-4CD4-85E2-7E0070037D88}"/>
    <pc:docChg chg="undo custSel addSld delSld modSld sldOrd">
      <pc:chgData name="Laura Smith (DCP)" userId="04d996ad-c8c0-4279-84c0-115ebcf63bba" providerId="ADAL" clId="{A0172E68-F658-4CD4-85E2-7E0070037D88}" dt="2020-08-04T23:55:39.555" v="15143" actId="1035"/>
      <pc:docMkLst>
        <pc:docMk/>
      </pc:docMkLst>
      <pc:sldChg chg="modSp">
        <pc:chgData name="Laura Smith (DCP)" userId="04d996ad-c8c0-4279-84c0-115ebcf63bba" providerId="ADAL" clId="{A0172E68-F658-4CD4-85E2-7E0070037D88}" dt="2020-08-04T23:54:00.313" v="15093" actId="20577"/>
        <pc:sldMkLst>
          <pc:docMk/>
          <pc:sldMk cId="866642221" sldId="604"/>
        </pc:sldMkLst>
        <pc:spChg chg="mod">
          <ac:chgData name="Laura Smith (DCP)" userId="04d996ad-c8c0-4279-84c0-115ebcf63bba" providerId="ADAL" clId="{A0172E68-F658-4CD4-85E2-7E0070037D88}" dt="2020-08-04T23:54:00.313" v="15093" actId="20577"/>
          <ac:spMkLst>
            <pc:docMk/>
            <pc:sldMk cId="866642221" sldId="604"/>
            <ac:spMk id="4" creationId="{00000000-0000-0000-0000-000000000000}"/>
          </ac:spMkLst>
        </pc:spChg>
      </pc:sldChg>
      <pc:sldChg chg="addSp delSp modSp">
        <pc:chgData name="Laura Smith (DCP)" userId="04d996ad-c8c0-4279-84c0-115ebcf63bba" providerId="ADAL" clId="{A0172E68-F658-4CD4-85E2-7E0070037D88}" dt="2020-08-04T23:53:06.981" v="15090" actId="113"/>
        <pc:sldMkLst>
          <pc:docMk/>
          <pc:sldMk cId="3417640896" sldId="660"/>
        </pc:sldMkLst>
        <pc:spChg chg="mod">
          <ac:chgData name="Laura Smith (DCP)" userId="04d996ad-c8c0-4279-84c0-115ebcf63bba" providerId="ADAL" clId="{A0172E68-F658-4CD4-85E2-7E0070037D88}" dt="2020-08-04T23:53:06.981" v="15090" actId="113"/>
          <ac:spMkLst>
            <pc:docMk/>
            <pc:sldMk cId="3417640896" sldId="660"/>
            <ac:spMk id="3" creationId="{D2AC686F-77B0-4B98-9400-AE95D8E98FF4}"/>
          </ac:spMkLst>
        </pc:spChg>
        <pc:spChg chg="add del">
          <ac:chgData name="Laura Smith (DCP)" userId="04d996ad-c8c0-4279-84c0-115ebcf63bba" providerId="ADAL" clId="{A0172E68-F658-4CD4-85E2-7E0070037D88}" dt="2020-07-29T00:09:45.057" v="7849" actId="478"/>
          <ac:spMkLst>
            <pc:docMk/>
            <pc:sldMk cId="3417640896" sldId="660"/>
            <ac:spMk id="5" creationId="{1973E5EF-342A-45CC-A778-D711BBB65B4D}"/>
          </ac:spMkLst>
        </pc:spChg>
        <pc:spChg chg="add del mod">
          <ac:chgData name="Laura Smith (DCP)" userId="04d996ad-c8c0-4279-84c0-115ebcf63bba" providerId="ADAL" clId="{A0172E68-F658-4CD4-85E2-7E0070037D88}" dt="2020-08-04T23:12:10.330" v="13851" actId="478"/>
          <ac:spMkLst>
            <pc:docMk/>
            <pc:sldMk cId="3417640896" sldId="660"/>
            <ac:spMk id="5" creationId="{4D3E67D0-39B8-4BCE-9BD9-37D2530B90FE}"/>
          </ac:spMkLst>
        </pc:spChg>
      </pc:sldChg>
      <pc:sldChg chg="addSp delSp modSp">
        <pc:chgData name="Laura Smith (DCP)" userId="04d996ad-c8c0-4279-84c0-115ebcf63bba" providerId="ADAL" clId="{A0172E68-F658-4CD4-85E2-7E0070037D88}" dt="2020-08-04T23:30:40.006" v="14301" actId="20577"/>
        <pc:sldMkLst>
          <pc:docMk/>
          <pc:sldMk cId="4030096002" sldId="691"/>
        </pc:sldMkLst>
        <pc:spChg chg="mod">
          <ac:chgData name="Laura Smith (DCP)" userId="04d996ad-c8c0-4279-84c0-115ebcf63bba" providerId="ADAL" clId="{A0172E68-F658-4CD4-85E2-7E0070037D88}" dt="2020-08-04T23:30:40.006" v="14301" actId="20577"/>
          <ac:spMkLst>
            <pc:docMk/>
            <pc:sldMk cId="4030096002" sldId="691"/>
            <ac:spMk id="3" creationId="{D2AC686F-77B0-4B98-9400-AE95D8E98FF4}"/>
          </ac:spMkLst>
        </pc:spChg>
        <pc:spChg chg="add del mod">
          <ac:chgData name="Laura Smith (DCP)" userId="04d996ad-c8c0-4279-84c0-115ebcf63bba" providerId="ADAL" clId="{A0172E68-F658-4CD4-85E2-7E0070037D88}" dt="2020-07-28T22:56:05.839" v="6744" actId="478"/>
          <ac:spMkLst>
            <pc:docMk/>
            <pc:sldMk cId="4030096002" sldId="691"/>
            <ac:spMk id="5" creationId="{AD90CC9E-2217-48B4-8E0F-A00A492E04D1}"/>
          </ac:spMkLst>
        </pc:spChg>
        <pc:spChg chg="add del">
          <ac:chgData name="Laura Smith (DCP)" userId="04d996ad-c8c0-4279-84c0-115ebcf63bba" providerId="ADAL" clId="{A0172E68-F658-4CD4-85E2-7E0070037D88}" dt="2020-08-04T23:02:18.740" v="13473" actId="478"/>
          <ac:spMkLst>
            <pc:docMk/>
            <pc:sldMk cId="4030096002" sldId="691"/>
            <ac:spMk id="5" creationId="{D02AF679-81A9-4271-AF95-02FB0AF665C4}"/>
          </ac:spMkLst>
        </pc:spChg>
      </pc:sldChg>
      <pc:sldChg chg="addSp delSp modSp delCm">
        <pc:chgData name="Laura Smith (DCP)" userId="04d996ad-c8c0-4279-84c0-115ebcf63bba" providerId="ADAL" clId="{A0172E68-F658-4CD4-85E2-7E0070037D88}" dt="2020-08-04T22:48:58.364" v="13174" actId="1592"/>
        <pc:sldMkLst>
          <pc:docMk/>
          <pc:sldMk cId="1519931681" sldId="923"/>
        </pc:sldMkLst>
        <pc:spChg chg="add">
          <ac:chgData name="Laura Smith (DCP)" userId="04d996ad-c8c0-4279-84c0-115ebcf63bba" providerId="ADAL" clId="{A0172E68-F658-4CD4-85E2-7E0070037D88}" dt="2020-07-30T18:49:15.803" v="9170"/>
          <ac:spMkLst>
            <pc:docMk/>
            <pc:sldMk cId="1519931681" sldId="923"/>
            <ac:spMk id="17" creationId="{C50F9D1D-508C-4DA9-BA5A-2366E1754C41}"/>
          </ac:spMkLst>
        </pc:spChg>
        <pc:spChg chg="add del">
          <ac:chgData name="Laura Smith (DCP)" userId="04d996ad-c8c0-4279-84c0-115ebcf63bba" providerId="ADAL" clId="{A0172E68-F658-4CD4-85E2-7E0070037D88}" dt="2020-07-28T18:19:43.706" v="2808" actId="478"/>
          <ac:spMkLst>
            <pc:docMk/>
            <pc:sldMk cId="1519931681" sldId="923"/>
            <ac:spMk id="18" creationId="{1E40A596-6E2F-405C-B286-AD1FEE9683E7}"/>
          </ac:spMkLst>
        </pc:spChg>
        <pc:spChg chg="mod">
          <ac:chgData name="Laura Smith (DCP)" userId="04d996ad-c8c0-4279-84c0-115ebcf63bba" providerId="ADAL" clId="{A0172E68-F658-4CD4-85E2-7E0070037D88}" dt="2020-08-04T22:48:55.813" v="13173" actId="6549"/>
          <ac:spMkLst>
            <pc:docMk/>
            <pc:sldMk cId="1519931681" sldId="923"/>
            <ac:spMk id="25" creationId="{13B87C1F-74FA-7648-A5E7-2CB01BB275C1}"/>
          </ac:spMkLst>
        </pc:spChg>
        <pc:graphicFrameChg chg="mod">
          <ac:chgData name="Laura Smith (DCP)" userId="04d996ad-c8c0-4279-84c0-115ebcf63bba" providerId="ADAL" clId="{A0172E68-F658-4CD4-85E2-7E0070037D88}" dt="2020-07-28T21:41:40.911" v="4285"/>
          <ac:graphicFrameMkLst>
            <pc:docMk/>
            <pc:sldMk cId="1519931681" sldId="923"/>
            <ac:graphicFrameMk id="20" creationId="{A02ADCAF-7863-324A-9F02-208B1F40E7D2}"/>
          </ac:graphicFrameMkLst>
        </pc:graphicFrameChg>
      </pc:sldChg>
      <pc:sldChg chg="addSp delSp modSp mod delCm">
        <pc:chgData name="Laura Smith (DCP)" userId="04d996ad-c8c0-4279-84c0-115ebcf63bba" providerId="ADAL" clId="{A0172E68-F658-4CD4-85E2-7E0070037D88}" dt="2020-08-04T19:38:46.410" v="11913" actId="14100"/>
        <pc:sldMkLst>
          <pc:docMk/>
          <pc:sldMk cId="3893609620" sldId="945"/>
        </pc:sldMkLst>
        <pc:spChg chg="mod">
          <ac:chgData name="Laura Smith (DCP)" userId="04d996ad-c8c0-4279-84c0-115ebcf63bba" providerId="ADAL" clId="{A0172E68-F658-4CD4-85E2-7E0070037D88}" dt="2020-08-04T19:38:46.410" v="11913" actId="14100"/>
          <ac:spMkLst>
            <pc:docMk/>
            <pc:sldMk cId="3893609620" sldId="945"/>
            <ac:spMk id="11" creationId="{3D4BD243-6BB9-4167-91CA-D171B4EC2B79}"/>
          </ac:spMkLst>
        </pc:spChg>
        <pc:spChg chg="mod">
          <ac:chgData name="Laura Smith (DCP)" userId="04d996ad-c8c0-4279-84c0-115ebcf63bba" providerId="ADAL" clId="{A0172E68-F658-4CD4-85E2-7E0070037D88}" dt="2020-07-28T20:22:09.374" v="4207" actId="20577"/>
          <ac:spMkLst>
            <pc:docMk/>
            <pc:sldMk cId="3893609620" sldId="945"/>
            <ac:spMk id="24" creationId="{85800FDC-7597-4A4B-99BA-C987E4FF4D31}"/>
          </ac:spMkLst>
        </pc:spChg>
        <pc:spChg chg="add del mod">
          <ac:chgData name="Laura Smith (DCP)" userId="04d996ad-c8c0-4279-84c0-115ebcf63bba" providerId="ADAL" clId="{A0172E68-F658-4CD4-85E2-7E0070037D88}" dt="2020-07-28T20:21:56.499" v="4203" actId="478"/>
          <ac:spMkLst>
            <pc:docMk/>
            <pc:sldMk cId="3893609620" sldId="945"/>
            <ac:spMk id="28" creationId="{071B3585-A2EB-4CA5-BF0A-C2E9A742FB9E}"/>
          </ac:spMkLst>
        </pc:spChg>
        <pc:spChg chg="add mod">
          <ac:chgData name="Laura Smith (DCP)" userId="04d996ad-c8c0-4279-84c0-115ebcf63bba" providerId="ADAL" clId="{A0172E68-F658-4CD4-85E2-7E0070037D88}" dt="2020-07-30T18:17:28.380" v="8642" actId="20577"/>
          <ac:spMkLst>
            <pc:docMk/>
            <pc:sldMk cId="3893609620" sldId="945"/>
            <ac:spMk id="29" creationId="{CAD675BA-0092-4FF3-9299-8A666400E123}"/>
          </ac:spMkLst>
        </pc:spChg>
        <pc:spChg chg="mod">
          <ac:chgData name="Laura Smith (DCP)" userId="04d996ad-c8c0-4279-84c0-115ebcf63bba" providerId="ADAL" clId="{A0172E68-F658-4CD4-85E2-7E0070037D88}" dt="2020-07-29T00:00:46.536" v="7408" actId="20577"/>
          <ac:spMkLst>
            <pc:docMk/>
            <pc:sldMk cId="3893609620" sldId="945"/>
            <ac:spMk id="40" creationId="{95D0B7F4-4459-46DD-A8FF-43125A0CC4B3}"/>
          </ac:spMkLst>
        </pc:spChg>
        <pc:spChg chg="mod">
          <ac:chgData name="Laura Smith (DCP)" userId="04d996ad-c8c0-4279-84c0-115ebcf63bba" providerId="ADAL" clId="{A0172E68-F658-4CD4-85E2-7E0070037D88}" dt="2020-07-29T00:04:42.684" v="7560" actId="20577"/>
          <ac:spMkLst>
            <pc:docMk/>
            <pc:sldMk cId="3893609620" sldId="945"/>
            <ac:spMk id="46" creationId="{D7B7A9D9-72DC-4C15-A101-5CF60024CF42}"/>
          </ac:spMkLst>
        </pc:spChg>
        <pc:grpChg chg="mod">
          <ac:chgData name="Laura Smith (DCP)" userId="04d996ad-c8c0-4279-84c0-115ebcf63bba" providerId="ADAL" clId="{A0172E68-F658-4CD4-85E2-7E0070037D88}" dt="2020-07-29T00:02:32.616" v="7513" actId="1035"/>
          <ac:grpSpMkLst>
            <pc:docMk/>
            <pc:sldMk cId="3893609620" sldId="945"/>
            <ac:grpSpMk id="3" creationId="{887DC773-55F1-4473-9B31-7F07D553A240}"/>
          </ac:grpSpMkLst>
        </pc:grpChg>
        <pc:grpChg chg="mod">
          <ac:chgData name="Laura Smith (DCP)" userId="04d996ad-c8c0-4279-84c0-115ebcf63bba" providerId="ADAL" clId="{A0172E68-F658-4CD4-85E2-7E0070037D88}" dt="2020-07-29T00:19:37.535" v="8510" actId="14100"/>
          <ac:grpSpMkLst>
            <pc:docMk/>
            <pc:sldMk cId="3893609620" sldId="945"/>
            <ac:grpSpMk id="14" creationId="{51D7E514-97F9-4E49-8257-3A7C5D002E4B}"/>
          </ac:grpSpMkLst>
        </pc:grpChg>
        <pc:grpChg chg="mod">
          <ac:chgData name="Laura Smith (DCP)" userId="04d996ad-c8c0-4279-84c0-115ebcf63bba" providerId="ADAL" clId="{A0172E68-F658-4CD4-85E2-7E0070037D88}" dt="2020-07-29T00:19:48.884" v="8520" actId="1037"/>
          <ac:grpSpMkLst>
            <pc:docMk/>
            <pc:sldMk cId="3893609620" sldId="945"/>
            <ac:grpSpMk id="21" creationId="{D731847C-4DBE-4AE5-B7E7-BC7A44AC83FE}"/>
          </ac:grpSpMkLst>
        </pc:grpChg>
        <pc:grpChg chg="mod">
          <ac:chgData name="Laura Smith (DCP)" userId="04d996ad-c8c0-4279-84c0-115ebcf63bba" providerId="ADAL" clId="{A0172E68-F658-4CD4-85E2-7E0070037D88}" dt="2020-07-29T00:02:32.616" v="7513" actId="1035"/>
          <ac:grpSpMkLst>
            <pc:docMk/>
            <pc:sldMk cId="3893609620" sldId="945"/>
            <ac:grpSpMk id="25" creationId="{5BABA797-0DCD-4E58-9609-E0B0D33B5F04}"/>
          </ac:grpSpMkLst>
        </pc:grpChg>
        <pc:grpChg chg="mod">
          <ac:chgData name="Laura Smith (DCP)" userId="04d996ad-c8c0-4279-84c0-115ebcf63bba" providerId="ADAL" clId="{A0172E68-F658-4CD4-85E2-7E0070037D88}" dt="2020-07-29T00:02:32.616" v="7513" actId="1035"/>
          <ac:grpSpMkLst>
            <pc:docMk/>
            <pc:sldMk cId="3893609620" sldId="945"/>
            <ac:grpSpMk id="27" creationId="{3795B927-32AF-48BE-8D06-B3FA72EA010A}"/>
          </ac:grpSpMkLst>
        </pc:grpChg>
        <pc:grpChg chg="mod">
          <ac:chgData name="Laura Smith (DCP)" userId="04d996ad-c8c0-4279-84c0-115ebcf63bba" providerId="ADAL" clId="{A0172E68-F658-4CD4-85E2-7E0070037D88}" dt="2020-07-29T00:02:32.616" v="7513" actId="1035"/>
          <ac:grpSpMkLst>
            <pc:docMk/>
            <pc:sldMk cId="3893609620" sldId="945"/>
            <ac:grpSpMk id="38" creationId="{A148A6BF-0FCB-402E-92DF-B905255AB259}"/>
          </ac:grpSpMkLst>
        </pc:grpChg>
        <pc:graphicFrameChg chg="add del">
          <ac:chgData name="Laura Smith (DCP)" userId="04d996ad-c8c0-4279-84c0-115ebcf63bba" providerId="ADAL" clId="{A0172E68-F658-4CD4-85E2-7E0070037D88}" dt="2020-07-29T00:00:25.470" v="7395" actId="478"/>
          <ac:graphicFrameMkLst>
            <pc:docMk/>
            <pc:sldMk cId="3893609620" sldId="945"/>
            <ac:graphicFrameMk id="29" creationId="{B5C1112F-4DEC-4BBF-B66C-BD9D7E491B5B}"/>
          </ac:graphicFrameMkLst>
        </pc:graphicFrameChg>
        <pc:graphicFrameChg chg="del">
          <ac:chgData name="Laura Smith (DCP)" userId="04d996ad-c8c0-4279-84c0-115ebcf63bba" providerId="ADAL" clId="{A0172E68-F658-4CD4-85E2-7E0070037D88}" dt="2020-07-29T00:04:07.624" v="7514" actId="478"/>
          <ac:graphicFrameMkLst>
            <pc:docMk/>
            <pc:sldMk cId="3893609620" sldId="945"/>
            <ac:graphicFrameMk id="43" creationId="{2E12B5D4-5FBB-4BBA-89AE-CFDCF53A63B5}"/>
          </ac:graphicFrameMkLst>
        </pc:graphicFrameChg>
        <pc:graphicFrameChg chg="del mod">
          <ac:chgData name="Laura Smith (DCP)" userId="04d996ad-c8c0-4279-84c0-115ebcf63bba" providerId="ADAL" clId="{A0172E68-F658-4CD4-85E2-7E0070037D88}" dt="2020-07-28T23:54:29.163" v="7294" actId="478"/>
          <ac:graphicFrameMkLst>
            <pc:docMk/>
            <pc:sldMk cId="3893609620" sldId="945"/>
            <ac:graphicFrameMk id="44" creationId="{A0807E5F-4857-4EC3-B4F6-C9AE10D6552D}"/>
          </ac:graphicFrameMkLst>
        </pc:graphicFrameChg>
        <pc:graphicFrameChg chg="add mod">
          <ac:chgData name="Laura Smith (DCP)" userId="04d996ad-c8c0-4279-84c0-115ebcf63bba" providerId="ADAL" clId="{A0172E68-F658-4CD4-85E2-7E0070037D88}" dt="2020-07-28T23:56:54.324" v="7380"/>
          <ac:graphicFrameMkLst>
            <pc:docMk/>
            <pc:sldMk cId="3893609620" sldId="945"/>
            <ac:graphicFrameMk id="47" creationId="{9ECF09B4-59DC-4D7B-B17E-1949A37DC1AD}"/>
          </ac:graphicFrameMkLst>
        </pc:graphicFrameChg>
        <pc:graphicFrameChg chg="add mod">
          <ac:chgData name="Laura Smith (DCP)" userId="04d996ad-c8c0-4279-84c0-115ebcf63bba" providerId="ADAL" clId="{A0172E68-F658-4CD4-85E2-7E0070037D88}" dt="2020-07-29T00:02:32.616" v="7513" actId="1035"/>
          <ac:graphicFrameMkLst>
            <pc:docMk/>
            <pc:sldMk cId="3893609620" sldId="945"/>
            <ac:graphicFrameMk id="49" creationId="{C9D40334-7674-4793-B11B-A6EA8E8C4416}"/>
          </ac:graphicFrameMkLst>
        </pc:graphicFrameChg>
        <pc:graphicFrameChg chg="add mod">
          <ac:chgData name="Laura Smith (DCP)" userId="04d996ad-c8c0-4279-84c0-115ebcf63bba" providerId="ADAL" clId="{A0172E68-F658-4CD4-85E2-7E0070037D88}" dt="2020-07-29T00:05:00.193" v="7566"/>
          <ac:graphicFrameMkLst>
            <pc:docMk/>
            <pc:sldMk cId="3893609620" sldId="945"/>
            <ac:graphicFrameMk id="50" creationId="{2A7D6FA0-5662-4873-90EB-0C8F8FC7F8EA}"/>
          </ac:graphicFrameMkLst>
        </pc:graphicFrameChg>
        <pc:graphicFrameChg chg="mod">
          <ac:chgData name="Laura Smith (DCP)" userId="04d996ad-c8c0-4279-84c0-115ebcf63bba" providerId="ADAL" clId="{A0172E68-F658-4CD4-85E2-7E0070037D88}" dt="2020-08-04T19:36:35.780" v="11767" actId="14100"/>
          <ac:graphicFrameMkLst>
            <pc:docMk/>
            <pc:sldMk cId="3893609620" sldId="945"/>
            <ac:graphicFrameMk id="52" creationId="{7FA9CA48-F2D4-4341-B599-F3016470120C}"/>
          </ac:graphicFrameMkLst>
        </pc:graphicFrameChg>
        <pc:cxnChg chg="mod">
          <ac:chgData name="Laura Smith (DCP)" userId="04d996ad-c8c0-4279-84c0-115ebcf63bba" providerId="ADAL" clId="{A0172E68-F658-4CD4-85E2-7E0070037D88}" dt="2020-08-04T19:37:02.036" v="11778" actId="1037"/>
          <ac:cxnSpMkLst>
            <pc:docMk/>
            <pc:sldMk cId="3893609620" sldId="945"/>
            <ac:cxnSpMk id="23" creationId="{7C2B7576-953B-4998-8B1B-3C1A1B5D7F50}"/>
          </ac:cxnSpMkLst>
        </pc:cxnChg>
        <pc:cxnChg chg="mod">
          <ac:chgData name="Laura Smith (DCP)" userId="04d996ad-c8c0-4279-84c0-115ebcf63bba" providerId="ADAL" clId="{A0172E68-F658-4CD4-85E2-7E0070037D88}" dt="2020-07-29T00:20:05.436" v="8521" actId="14100"/>
          <ac:cxnSpMkLst>
            <pc:docMk/>
            <pc:sldMk cId="3893609620" sldId="945"/>
            <ac:cxnSpMk id="39" creationId="{9EFFE4AE-851E-4579-9EFE-99E2D84194BA}"/>
          </ac:cxnSpMkLst>
        </pc:cxnChg>
        <pc:cxnChg chg="mod">
          <ac:chgData name="Laura Smith (DCP)" userId="04d996ad-c8c0-4279-84c0-115ebcf63bba" providerId="ADAL" clId="{A0172E68-F658-4CD4-85E2-7E0070037D88}" dt="2020-07-28T23:04:26.317" v="6898" actId="1035"/>
          <ac:cxnSpMkLst>
            <pc:docMk/>
            <pc:sldMk cId="3893609620" sldId="945"/>
            <ac:cxnSpMk id="45" creationId="{918D82A6-8BFE-49A3-94B9-0BA720F362FE}"/>
          </ac:cxnSpMkLst>
        </pc:cxnChg>
      </pc:sldChg>
      <pc:sldChg chg="addSp modSp delCm">
        <pc:chgData name="Laura Smith (DCP)" userId="04d996ad-c8c0-4279-84c0-115ebcf63bba" providerId="ADAL" clId="{A0172E68-F658-4CD4-85E2-7E0070037D88}" dt="2020-08-04T22:44:06.355" v="12877" actId="1592"/>
        <pc:sldMkLst>
          <pc:docMk/>
          <pc:sldMk cId="1905173972" sldId="1021"/>
        </pc:sldMkLst>
        <pc:spChg chg="mod">
          <ac:chgData name="Laura Smith (DCP)" userId="04d996ad-c8c0-4279-84c0-115ebcf63bba" providerId="ADAL" clId="{A0172E68-F658-4CD4-85E2-7E0070037D88}" dt="2020-08-04T22:44:01.274" v="12876" actId="14100"/>
          <ac:spMkLst>
            <pc:docMk/>
            <pc:sldMk cId="1905173972" sldId="1021"/>
            <ac:spMk id="6" creationId="{A25A1C29-250D-44E2-A304-C80619528D79}"/>
          </ac:spMkLst>
        </pc:spChg>
        <pc:spChg chg="add mod">
          <ac:chgData name="Laura Smith (DCP)" userId="04d996ad-c8c0-4279-84c0-115ebcf63bba" providerId="ADAL" clId="{A0172E68-F658-4CD4-85E2-7E0070037D88}" dt="2020-07-27T15:24:20.559" v="236" actId="14100"/>
          <ac:spMkLst>
            <pc:docMk/>
            <pc:sldMk cId="1905173972" sldId="1021"/>
            <ac:spMk id="10" creationId="{CFBA8DFB-846F-4DB4-B37A-C0D921D86EA1}"/>
          </ac:spMkLst>
        </pc:spChg>
        <pc:graphicFrameChg chg="mod">
          <ac:chgData name="Laura Smith (DCP)" userId="04d996ad-c8c0-4279-84c0-115ebcf63bba" providerId="ADAL" clId="{A0172E68-F658-4CD4-85E2-7E0070037D88}" dt="2020-08-04T19:09:24.936" v="11602"/>
          <ac:graphicFrameMkLst>
            <pc:docMk/>
            <pc:sldMk cId="1905173972" sldId="1021"/>
            <ac:graphicFrameMk id="13" creationId="{C3DE53ED-442A-4758-AE52-39553F93F170}"/>
          </ac:graphicFrameMkLst>
        </pc:graphicFrameChg>
      </pc:sldChg>
      <pc:sldChg chg="addSp delSp modSp delCm">
        <pc:chgData name="Laura Smith (DCP)" userId="04d996ad-c8c0-4279-84c0-115ebcf63bba" providerId="ADAL" clId="{A0172E68-F658-4CD4-85E2-7E0070037D88}" dt="2020-08-04T23:03:56.351" v="13500" actId="1076"/>
        <pc:sldMkLst>
          <pc:docMk/>
          <pc:sldMk cId="1155418492" sldId="1026"/>
        </pc:sldMkLst>
        <pc:spChg chg="mod">
          <ac:chgData name="Laura Smith (DCP)" userId="04d996ad-c8c0-4279-84c0-115ebcf63bba" providerId="ADAL" clId="{A0172E68-F658-4CD4-85E2-7E0070037D88}" dt="2020-08-04T23:03:50.144" v="13498" actId="14100"/>
          <ac:spMkLst>
            <pc:docMk/>
            <pc:sldMk cId="1155418492" sldId="1026"/>
            <ac:spMk id="6" creationId="{6112D5FE-E18B-6A43-BA78-7662CB7AF3D1}"/>
          </ac:spMkLst>
        </pc:spChg>
        <pc:spChg chg="mod">
          <ac:chgData name="Laura Smith (DCP)" userId="04d996ad-c8c0-4279-84c0-115ebcf63bba" providerId="ADAL" clId="{A0172E68-F658-4CD4-85E2-7E0070037D88}" dt="2020-08-04T22:55:02.392" v="13287" actId="14100"/>
          <ac:spMkLst>
            <pc:docMk/>
            <pc:sldMk cId="1155418492" sldId="1026"/>
            <ac:spMk id="7" creationId="{5DD5AC5F-360F-8042-AE73-AF91185B9B19}"/>
          </ac:spMkLst>
        </pc:spChg>
        <pc:spChg chg="add del">
          <ac:chgData name="Laura Smith (DCP)" userId="04d996ad-c8c0-4279-84c0-115ebcf63bba" providerId="ADAL" clId="{A0172E68-F658-4CD4-85E2-7E0070037D88}" dt="2020-08-04T13:55:27.819" v="9690" actId="478"/>
          <ac:spMkLst>
            <pc:docMk/>
            <pc:sldMk cId="1155418492" sldId="1026"/>
            <ac:spMk id="9" creationId="{B4FD0C7C-7444-475E-B8C5-C319DA28C5F5}"/>
          </ac:spMkLst>
        </pc:spChg>
        <pc:spChg chg="mod">
          <ac:chgData name="Laura Smith (DCP)" userId="04d996ad-c8c0-4279-84c0-115ebcf63bba" providerId="ADAL" clId="{A0172E68-F658-4CD4-85E2-7E0070037D88}" dt="2020-08-04T23:03:56.351" v="13500" actId="1076"/>
          <ac:spMkLst>
            <pc:docMk/>
            <pc:sldMk cId="1155418492" sldId="1026"/>
            <ac:spMk id="10" creationId="{FE15DC25-7282-4E24-BEC3-A8CE6DA6D05B}"/>
          </ac:spMkLst>
        </pc:spChg>
        <pc:spChg chg="add del">
          <ac:chgData name="Laura Smith (DCP)" userId="04d996ad-c8c0-4279-84c0-115ebcf63bba" providerId="ADAL" clId="{A0172E68-F658-4CD4-85E2-7E0070037D88}" dt="2020-07-28T15:54:38.276" v="719" actId="478"/>
          <ac:spMkLst>
            <pc:docMk/>
            <pc:sldMk cId="1155418492" sldId="1026"/>
            <ac:spMk id="12" creationId="{7D200679-A67D-46F7-81A2-1AB4C14FC5CA}"/>
          </ac:spMkLst>
        </pc:spChg>
        <pc:spChg chg="add mod">
          <ac:chgData name="Laura Smith (DCP)" userId="04d996ad-c8c0-4279-84c0-115ebcf63bba" providerId="ADAL" clId="{A0172E68-F658-4CD4-85E2-7E0070037D88}" dt="2020-08-04T16:52:07.003" v="10488" actId="14100"/>
          <ac:spMkLst>
            <pc:docMk/>
            <pc:sldMk cId="1155418492" sldId="1026"/>
            <ac:spMk id="14" creationId="{BF7984C3-BBA4-4A3B-A3F4-ECF402FF380E}"/>
          </ac:spMkLst>
        </pc:spChg>
        <pc:graphicFrameChg chg="mod">
          <ac:chgData name="Laura Smith (DCP)" userId="04d996ad-c8c0-4279-84c0-115ebcf63bba" providerId="ADAL" clId="{A0172E68-F658-4CD4-85E2-7E0070037D88}" dt="2020-08-04T13:56:40.146" v="9695" actId="403"/>
          <ac:graphicFrameMkLst>
            <pc:docMk/>
            <pc:sldMk cId="1155418492" sldId="1026"/>
            <ac:graphicFrameMk id="11" creationId="{68EDFA0D-7AE0-AF44-9360-4F25F694E1CE}"/>
          </ac:graphicFrameMkLst>
        </pc:graphicFrameChg>
        <pc:graphicFrameChg chg="mod">
          <ac:chgData name="Laura Smith (DCP)" userId="04d996ad-c8c0-4279-84c0-115ebcf63bba" providerId="ADAL" clId="{A0172E68-F658-4CD4-85E2-7E0070037D88}" dt="2020-08-04T13:56:42.687" v="9696" actId="403"/>
          <ac:graphicFrameMkLst>
            <pc:docMk/>
            <pc:sldMk cId="1155418492" sldId="1026"/>
            <ac:graphicFrameMk id="12" creationId="{519EE0ED-7A72-3348-8735-5519A41EDCB8}"/>
          </ac:graphicFrameMkLst>
        </pc:graphicFrameChg>
        <pc:graphicFrameChg chg="mod">
          <ac:chgData name="Laura Smith (DCP)" userId="04d996ad-c8c0-4279-84c0-115ebcf63bba" providerId="ADAL" clId="{A0172E68-F658-4CD4-85E2-7E0070037D88}" dt="2020-07-29T00:15:54.582" v="8318" actId="403"/>
          <ac:graphicFrameMkLst>
            <pc:docMk/>
            <pc:sldMk cId="1155418492" sldId="1026"/>
            <ac:graphicFrameMk id="13" creationId="{68EDFA0D-7AE0-AF44-9360-4F25F694E1CE}"/>
          </ac:graphicFrameMkLst>
        </pc:graphicFrameChg>
        <pc:graphicFrameChg chg="mod">
          <ac:chgData name="Laura Smith (DCP)" userId="04d996ad-c8c0-4279-84c0-115ebcf63bba" providerId="ADAL" clId="{A0172E68-F658-4CD4-85E2-7E0070037D88}" dt="2020-07-28T21:35:48.389" v="4233" actId="20577"/>
          <ac:graphicFrameMkLst>
            <pc:docMk/>
            <pc:sldMk cId="1155418492" sldId="1026"/>
            <ac:graphicFrameMk id="15" creationId="{519EE0ED-7A72-3348-8735-5519A41EDCB8}"/>
          </ac:graphicFrameMkLst>
        </pc:graphicFrameChg>
      </pc:sldChg>
      <pc:sldChg chg="addSp delSp modSp">
        <pc:chgData name="Laura Smith (DCP)" userId="04d996ad-c8c0-4279-84c0-115ebcf63bba" providerId="ADAL" clId="{A0172E68-F658-4CD4-85E2-7E0070037D88}" dt="2020-08-04T23:03:44.893" v="13497" actId="1076"/>
        <pc:sldMkLst>
          <pc:docMk/>
          <pc:sldMk cId="1049441131" sldId="1040"/>
        </pc:sldMkLst>
        <pc:spChg chg="mod">
          <ac:chgData name="Laura Smith (DCP)" userId="04d996ad-c8c0-4279-84c0-115ebcf63bba" providerId="ADAL" clId="{A0172E68-F658-4CD4-85E2-7E0070037D88}" dt="2020-07-28T21:36:48.662" v="4272" actId="1035"/>
          <ac:spMkLst>
            <pc:docMk/>
            <pc:sldMk cId="1049441131" sldId="1040"/>
            <ac:spMk id="5" creationId="{96C384E0-20DE-4763-A9A3-2599802CC195}"/>
          </ac:spMkLst>
        </pc:spChg>
        <pc:spChg chg="mod">
          <ac:chgData name="Laura Smith (DCP)" userId="04d996ad-c8c0-4279-84c0-115ebcf63bba" providerId="ADAL" clId="{A0172E68-F658-4CD4-85E2-7E0070037D88}" dt="2020-08-04T23:03:44.893" v="13497" actId="1076"/>
          <ac:spMkLst>
            <pc:docMk/>
            <pc:sldMk cId="1049441131" sldId="1040"/>
            <ac:spMk id="8" creationId="{B4306CB6-AC48-1546-B565-FD067D80C14C}"/>
          </ac:spMkLst>
        </pc:spChg>
        <pc:spChg chg="add del">
          <ac:chgData name="Laura Smith (DCP)" userId="04d996ad-c8c0-4279-84c0-115ebcf63bba" providerId="ADAL" clId="{A0172E68-F658-4CD4-85E2-7E0070037D88}" dt="2020-08-04T13:54:49.843" v="9686" actId="478"/>
          <ac:spMkLst>
            <pc:docMk/>
            <pc:sldMk cId="1049441131" sldId="1040"/>
            <ac:spMk id="9" creationId="{EDB92A2B-FB49-4CC7-8E79-82BC894481FA}"/>
          </ac:spMkLst>
        </pc:spChg>
        <pc:spChg chg="add del">
          <ac:chgData name="Laura Smith (DCP)" userId="04d996ad-c8c0-4279-84c0-115ebcf63bba" providerId="ADAL" clId="{A0172E68-F658-4CD4-85E2-7E0070037D88}" dt="2020-07-28T15:55:21.265" v="770" actId="478"/>
          <ac:spMkLst>
            <pc:docMk/>
            <pc:sldMk cId="1049441131" sldId="1040"/>
            <ac:spMk id="11" creationId="{02BC6DF7-D056-4C20-99EB-F7EEDB848FB0}"/>
          </ac:spMkLst>
        </pc:spChg>
        <pc:spChg chg="mod">
          <ac:chgData name="Laura Smith (DCP)" userId="04d996ad-c8c0-4279-84c0-115ebcf63bba" providerId="ADAL" clId="{A0172E68-F658-4CD4-85E2-7E0070037D88}" dt="2020-08-04T13:55:07.752" v="9688" actId="1076"/>
          <ac:spMkLst>
            <pc:docMk/>
            <pc:sldMk cId="1049441131" sldId="1040"/>
            <ac:spMk id="14" creationId="{437F0068-2F47-8346-A239-A480DB4C0B54}"/>
          </ac:spMkLst>
        </pc:spChg>
        <pc:spChg chg="add mod">
          <ac:chgData name="Laura Smith (DCP)" userId="04d996ad-c8c0-4279-84c0-115ebcf63bba" providerId="ADAL" clId="{A0172E68-F658-4CD4-85E2-7E0070037D88}" dt="2020-08-04T16:52:13.078" v="10490" actId="14100"/>
          <ac:spMkLst>
            <pc:docMk/>
            <pc:sldMk cId="1049441131" sldId="1040"/>
            <ac:spMk id="15" creationId="{D4AB5202-38B5-41F2-926F-7DECFA30B25F}"/>
          </ac:spMkLst>
        </pc:spChg>
        <pc:graphicFrameChg chg="mod">
          <ac:chgData name="Laura Smith (DCP)" userId="04d996ad-c8c0-4279-84c0-115ebcf63bba" providerId="ADAL" clId="{A0172E68-F658-4CD4-85E2-7E0070037D88}" dt="2020-08-04T13:56:26.246" v="9693" actId="403"/>
          <ac:graphicFrameMkLst>
            <pc:docMk/>
            <pc:sldMk cId="1049441131" sldId="1040"/>
            <ac:graphicFrameMk id="10" creationId="{CFFA1B36-5CB1-D24F-9F81-D8B570EAAA25}"/>
          </ac:graphicFrameMkLst>
        </pc:graphicFrameChg>
        <pc:graphicFrameChg chg="mod">
          <ac:chgData name="Laura Smith (DCP)" userId="04d996ad-c8c0-4279-84c0-115ebcf63bba" providerId="ADAL" clId="{A0172E68-F658-4CD4-85E2-7E0070037D88}" dt="2020-08-04T13:56:29.724" v="9694" actId="403"/>
          <ac:graphicFrameMkLst>
            <pc:docMk/>
            <pc:sldMk cId="1049441131" sldId="1040"/>
            <ac:graphicFrameMk id="11" creationId="{C74309F3-BD2E-054F-AD89-8707F08964FA}"/>
          </ac:graphicFrameMkLst>
        </pc:graphicFrameChg>
        <pc:graphicFrameChg chg="mod">
          <ac:chgData name="Laura Smith (DCP)" userId="04d996ad-c8c0-4279-84c0-115ebcf63bba" providerId="ADAL" clId="{A0172E68-F658-4CD4-85E2-7E0070037D88}" dt="2020-07-28T21:37:03.670" v="4277" actId="403"/>
          <ac:graphicFrameMkLst>
            <pc:docMk/>
            <pc:sldMk cId="1049441131" sldId="1040"/>
            <ac:graphicFrameMk id="12" creationId="{CFFA1B36-5CB1-D24F-9F81-D8B570EAAA25}"/>
          </ac:graphicFrameMkLst>
        </pc:graphicFrameChg>
        <pc:graphicFrameChg chg="mod">
          <ac:chgData name="Laura Smith (DCP)" userId="04d996ad-c8c0-4279-84c0-115ebcf63bba" providerId="ADAL" clId="{A0172E68-F658-4CD4-85E2-7E0070037D88}" dt="2020-07-28T21:36:24.235" v="4254" actId="1035"/>
          <ac:graphicFrameMkLst>
            <pc:docMk/>
            <pc:sldMk cId="1049441131" sldId="1040"/>
            <ac:graphicFrameMk id="13" creationId="{C74309F3-BD2E-054F-AD89-8707F08964FA}"/>
          </ac:graphicFrameMkLst>
        </pc:graphicFrameChg>
      </pc:sldChg>
      <pc:sldChg chg="addSp modSp del delCm">
        <pc:chgData name="Laura Smith (DCP)" userId="04d996ad-c8c0-4279-84c0-115ebcf63bba" providerId="ADAL" clId="{A0172E68-F658-4CD4-85E2-7E0070037D88}" dt="2020-08-04T23:43:42.580" v="14577" actId="14100"/>
        <pc:sldMkLst>
          <pc:docMk/>
          <pc:sldMk cId="828195153" sldId="1043"/>
        </pc:sldMkLst>
        <pc:spChg chg="mod">
          <ac:chgData name="Laura Smith (DCP)" userId="04d996ad-c8c0-4279-84c0-115ebcf63bba" providerId="ADAL" clId="{A0172E68-F658-4CD4-85E2-7E0070037D88}" dt="2020-08-04T22:47:50.683" v="13149" actId="6549"/>
          <ac:spMkLst>
            <pc:docMk/>
            <pc:sldMk cId="828195153" sldId="1043"/>
            <ac:spMk id="6" creationId="{566F1000-6C7A-E84A-BA94-F0F06058814B}"/>
          </ac:spMkLst>
        </pc:spChg>
        <pc:spChg chg="add mod">
          <ac:chgData name="Laura Smith (DCP)" userId="04d996ad-c8c0-4279-84c0-115ebcf63bba" providerId="ADAL" clId="{A0172E68-F658-4CD4-85E2-7E0070037D88}" dt="2020-07-28T18:49:50.648" v="2866" actId="14100"/>
          <ac:spMkLst>
            <pc:docMk/>
            <pc:sldMk cId="828195153" sldId="1043"/>
            <ac:spMk id="14" creationId="{E35FC766-6831-403C-995F-F47857C360D1}"/>
          </ac:spMkLst>
        </pc:spChg>
        <pc:graphicFrameChg chg="mod">
          <ac:chgData name="Laura Smith (DCP)" userId="04d996ad-c8c0-4279-84c0-115ebcf63bba" providerId="ADAL" clId="{A0172E68-F658-4CD4-85E2-7E0070037D88}" dt="2020-08-04T23:43:29.844" v="14574" actId="14100"/>
          <ac:graphicFrameMkLst>
            <pc:docMk/>
            <pc:sldMk cId="828195153" sldId="1043"/>
            <ac:graphicFrameMk id="15" creationId="{802258F7-1F4F-47BB-84F9-E80EF936F3C6}"/>
          </ac:graphicFrameMkLst>
        </pc:graphicFrameChg>
        <pc:graphicFrameChg chg="mod">
          <ac:chgData name="Laura Smith (DCP)" userId="04d996ad-c8c0-4279-84c0-115ebcf63bba" providerId="ADAL" clId="{A0172E68-F658-4CD4-85E2-7E0070037D88}" dt="2020-08-04T23:43:37.273" v="14576" actId="14100"/>
          <ac:graphicFrameMkLst>
            <pc:docMk/>
            <pc:sldMk cId="828195153" sldId="1043"/>
            <ac:graphicFrameMk id="16" creationId="{3BF46655-8560-4111-A417-CD6086DEEFDA}"/>
          </ac:graphicFrameMkLst>
        </pc:graphicFrameChg>
        <pc:cxnChg chg="mod">
          <ac:chgData name="Laura Smith (DCP)" userId="04d996ad-c8c0-4279-84c0-115ebcf63bba" providerId="ADAL" clId="{A0172E68-F658-4CD4-85E2-7E0070037D88}" dt="2020-08-04T23:43:42.580" v="14577" actId="14100"/>
          <ac:cxnSpMkLst>
            <pc:docMk/>
            <pc:sldMk cId="828195153" sldId="1043"/>
            <ac:cxnSpMk id="13" creationId="{EC763169-086F-6C43-ABAE-6673F1A3C2F5}"/>
          </ac:cxnSpMkLst>
        </pc:cxnChg>
      </pc:sldChg>
      <pc:sldChg chg="addSp delSp modSp mod addCm delCm">
        <pc:chgData name="Laura Smith (DCP)" userId="04d996ad-c8c0-4279-84c0-115ebcf63bba" providerId="ADAL" clId="{A0172E68-F658-4CD4-85E2-7E0070037D88}" dt="2020-08-04T23:17:41.898" v="14273"/>
        <pc:sldMkLst>
          <pc:docMk/>
          <pc:sldMk cId="520716004" sldId="1058"/>
        </pc:sldMkLst>
        <pc:spChg chg="mod">
          <ac:chgData name="Laura Smith (DCP)" userId="04d996ad-c8c0-4279-84c0-115ebcf63bba" providerId="ADAL" clId="{A0172E68-F658-4CD4-85E2-7E0070037D88}" dt="2020-08-04T23:17:41.898" v="14273"/>
          <ac:spMkLst>
            <pc:docMk/>
            <pc:sldMk cId="520716004" sldId="1058"/>
            <ac:spMk id="9" creationId="{BF15CC37-17A3-48B8-8AF4-369FA726998B}"/>
          </ac:spMkLst>
        </pc:spChg>
        <pc:spChg chg="mod">
          <ac:chgData name="Laura Smith (DCP)" userId="04d996ad-c8c0-4279-84c0-115ebcf63bba" providerId="ADAL" clId="{A0172E68-F658-4CD4-85E2-7E0070037D88}" dt="2020-07-28T22:45:35.339" v="6664" actId="1076"/>
          <ac:spMkLst>
            <pc:docMk/>
            <pc:sldMk cId="520716004" sldId="1058"/>
            <ac:spMk id="10" creationId="{FE230770-2AE0-4702-B8C7-8DD16B821EA0}"/>
          </ac:spMkLst>
        </pc:spChg>
        <pc:spChg chg="add del mod">
          <ac:chgData name="Laura Smith (DCP)" userId="04d996ad-c8c0-4279-84c0-115ebcf63bba" providerId="ADAL" clId="{A0172E68-F658-4CD4-85E2-7E0070037D88}" dt="2020-08-04T16:16:56.412" v="9698" actId="478"/>
          <ac:spMkLst>
            <pc:docMk/>
            <pc:sldMk cId="520716004" sldId="1058"/>
            <ac:spMk id="11" creationId="{0A9D0027-2FD1-46A2-99A4-D7FB2451D45E}"/>
          </ac:spMkLst>
        </pc:spChg>
        <pc:spChg chg="add del mod">
          <ac:chgData name="Laura Smith (DCP)" userId="04d996ad-c8c0-4279-84c0-115ebcf63bba" providerId="ADAL" clId="{A0172E68-F658-4CD4-85E2-7E0070037D88}" dt="2020-07-28T22:41:18.829" v="6190" actId="478"/>
          <ac:spMkLst>
            <pc:docMk/>
            <pc:sldMk cId="520716004" sldId="1058"/>
            <ac:spMk id="11" creationId="{C6362BC4-2E38-4B3C-889E-68756806F275}"/>
          </ac:spMkLst>
        </pc:spChg>
        <pc:graphicFrameChg chg="add del mod">
          <ac:chgData name="Laura Smith (DCP)" userId="04d996ad-c8c0-4279-84c0-115ebcf63bba" providerId="ADAL" clId="{A0172E68-F658-4CD4-85E2-7E0070037D88}" dt="2020-08-04T16:16:59.412" v="9699" actId="478"/>
          <ac:graphicFrameMkLst>
            <pc:docMk/>
            <pc:sldMk cId="520716004" sldId="1058"/>
            <ac:graphicFrameMk id="12" creationId="{7A1CE3A2-E55C-40E9-8884-1380EC8D6868}"/>
          </ac:graphicFrameMkLst>
        </pc:graphicFrameChg>
        <pc:graphicFrameChg chg="del">
          <ac:chgData name="Laura Smith (DCP)" userId="04d996ad-c8c0-4279-84c0-115ebcf63bba" providerId="ADAL" clId="{A0172E68-F658-4CD4-85E2-7E0070037D88}" dt="2020-07-28T22:41:03.780" v="6184" actId="478"/>
          <ac:graphicFrameMkLst>
            <pc:docMk/>
            <pc:sldMk cId="520716004" sldId="1058"/>
            <ac:graphicFrameMk id="13" creationId="{BF7FD390-2BEF-42D7-A17C-F7C7958B98A7}"/>
          </ac:graphicFrameMkLst>
        </pc:graphicFrameChg>
        <pc:graphicFrameChg chg="add del mod">
          <ac:chgData name="Laura Smith (DCP)" userId="04d996ad-c8c0-4279-84c0-115ebcf63bba" providerId="ADAL" clId="{A0172E68-F658-4CD4-85E2-7E0070037D88}" dt="2020-08-04T16:17:18.787" v="9705" actId="478"/>
          <ac:graphicFrameMkLst>
            <pc:docMk/>
            <pc:sldMk cId="520716004" sldId="1058"/>
            <ac:graphicFrameMk id="13" creationId="{E99E8903-D15B-4CBC-B9DA-DE510C7AA775}"/>
          </ac:graphicFrameMkLst>
        </pc:graphicFrameChg>
        <pc:graphicFrameChg chg="add mod">
          <ac:chgData name="Laura Smith (DCP)" userId="04d996ad-c8c0-4279-84c0-115ebcf63bba" providerId="ADAL" clId="{A0172E68-F658-4CD4-85E2-7E0070037D88}" dt="2020-08-04T22:48:29.391" v="13157" actId="113"/>
          <ac:graphicFrameMkLst>
            <pc:docMk/>
            <pc:sldMk cId="520716004" sldId="1058"/>
            <ac:graphicFrameMk id="14" creationId="{E99E8903-D15B-4CBC-B9DA-DE510C7AA775}"/>
          </ac:graphicFrameMkLst>
        </pc:graphicFrameChg>
      </pc:sldChg>
      <pc:sldChg chg="addSp delSp modSp">
        <pc:chgData name="Laura Smith (DCP)" userId="04d996ad-c8c0-4279-84c0-115ebcf63bba" providerId="ADAL" clId="{A0172E68-F658-4CD4-85E2-7E0070037D88}" dt="2020-08-04T23:54:34.068" v="15099" actId="20577"/>
        <pc:sldMkLst>
          <pc:docMk/>
          <pc:sldMk cId="2415737977" sldId="1063"/>
        </pc:sldMkLst>
        <pc:spChg chg="mod">
          <ac:chgData name="Laura Smith (DCP)" userId="04d996ad-c8c0-4279-84c0-115ebcf63bba" providerId="ADAL" clId="{A0172E68-F658-4CD4-85E2-7E0070037D88}" dt="2020-08-04T23:54:34.068" v="15099" actId="20577"/>
          <ac:spMkLst>
            <pc:docMk/>
            <pc:sldMk cId="2415737977" sldId="1063"/>
            <ac:spMk id="2" creationId="{34067B45-0477-41C4-847B-3BFADB14672F}"/>
          </ac:spMkLst>
        </pc:spChg>
        <pc:spChg chg="add del mod">
          <ac:chgData name="Laura Smith (DCP)" userId="04d996ad-c8c0-4279-84c0-115ebcf63bba" providerId="ADAL" clId="{A0172E68-F658-4CD4-85E2-7E0070037D88}" dt="2020-07-28T20:16:37.197" v="4143" actId="478"/>
          <ac:spMkLst>
            <pc:docMk/>
            <pc:sldMk cId="2415737977" sldId="1063"/>
            <ac:spMk id="6" creationId="{F9A6AA09-CF05-4759-BAE6-A3F46C5777EA}"/>
          </ac:spMkLst>
        </pc:spChg>
        <pc:spChg chg="add mod">
          <ac:chgData name="Laura Smith (DCP)" userId="04d996ad-c8c0-4279-84c0-115ebcf63bba" providerId="ADAL" clId="{A0172E68-F658-4CD4-85E2-7E0070037D88}" dt="2020-07-30T18:18:22.163" v="8693" actId="404"/>
          <ac:spMkLst>
            <pc:docMk/>
            <pc:sldMk cId="2415737977" sldId="1063"/>
            <ac:spMk id="10" creationId="{8818FEB9-40E1-4F1D-831B-8B3CBE928588}"/>
          </ac:spMkLst>
        </pc:spChg>
        <pc:spChg chg="mod">
          <ac:chgData name="Laura Smith (DCP)" userId="04d996ad-c8c0-4279-84c0-115ebcf63bba" providerId="ADAL" clId="{A0172E68-F658-4CD4-85E2-7E0070037D88}" dt="2020-08-04T23:10:16.418" v="13786" actId="20577"/>
          <ac:spMkLst>
            <pc:docMk/>
            <pc:sldMk cId="2415737977" sldId="1063"/>
            <ac:spMk id="20" creationId="{F5A93634-EFB0-4F1D-8EB9-1AD5FF7384D9}"/>
          </ac:spMkLst>
        </pc:spChg>
        <pc:picChg chg="mod">
          <ac:chgData name="Laura Smith (DCP)" userId="04d996ad-c8c0-4279-84c0-115ebcf63bba" providerId="ADAL" clId="{A0172E68-F658-4CD4-85E2-7E0070037D88}" dt="2020-07-29T00:20:27.415" v="8527" actId="1035"/>
          <ac:picMkLst>
            <pc:docMk/>
            <pc:sldMk cId="2415737977" sldId="1063"/>
            <ac:picMk id="9" creationId="{036B5E82-B5F7-4D42-BE55-28C0061F4209}"/>
          </ac:picMkLst>
        </pc:picChg>
        <pc:picChg chg="mod">
          <ac:chgData name="Laura Smith (DCP)" userId="04d996ad-c8c0-4279-84c0-115ebcf63bba" providerId="ADAL" clId="{A0172E68-F658-4CD4-85E2-7E0070037D88}" dt="2020-07-29T00:20:27.415" v="8527" actId="1035"/>
          <ac:picMkLst>
            <pc:docMk/>
            <pc:sldMk cId="2415737977" sldId="1063"/>
            <ac:picMk id="14" creationId="{D9B398A0-7323-42D7-AA44-467DF1591D8F}"/>
          </ac:picMkLst>
        </pc:picChg>
        <pc:picChg chg="mod">
          <ac:chgData name="Laura Smith (DCP)" userId="04d996ad-c8c0-4279-84c0-115ebcf63bba" providerId="ADAL" clId="{A0172E68-F658-4CD4-85E2-7E0070037D88}" dt="2020-07-29T00:20:27.415" v="8527" actId="1035"/>
          <ac:picMkLst>
            <pc:docMk/>
            <pc:sldMk cId="2415737977" sldId="1063"/>
            <ac:picMk id="15" creationId="{306E76E2-4D68-4337-BAE0-9846F114AC89}"/>
          </ac:picMkLst>
        </pc:picChg>
        <pc:picChg chg="mod">
          <ac:chgData name="Laura Smith (DCP)" userId="04d996ad-c8c0-4279-84c0-115ebcf63bba" providerId="ADAL" clId="{A0172E68-F658-4CD4-85E2-7E0070037D88}" dt="2020-07-29T00:20:27.415" v="8527" actId="1035"/>
          <ac:picMkLst>
            <pc:docMk/>
            <pc:sldMk cId="2415737977" sldId="1063"/>
            <ac:picMk id="16" creationId="{FCADD0E3-69A0-42DD-8BE3-EB28B65DAD4E}"/>
          </ac:picMkLst>
        </pc:picChg>
      </pc:sldChg>
      <pc:sldChg chg="addSp delSp modSp">
        <pc:chgData name="Laura Smith (DCP)" userId="04d996ad-c8c0-4279-84c0-115ebcf63bba" providerId="ADAL" clId="{A0172E68-F658-4CD4-85E2-7E0070037D88}" dt="2020-08-04T18:36:11.119" v="11424" actId="14100"/>
        <pc:sldMkLst>
          <pc:docMk/>
          <pc:sldMk cId="2855638099" sldId="1089"/>
        </pc:sldMkLst>
        <pc:spChg chg="mod">
          <ac:chgData name="Laura Smith (DCP)" userId="04d996ad-c8c0-4279-84c0-115ebcf63bba" providerId="ADAL" clId="{A0172E68-F658-4CD4-85E2-7E0070037D88}" dt="2020-08-04T18:36:11.119" v="11424" actId="14100"/>
          <ac:spMkLst>
            <pc:docMk/>
            <pc:sldMk cId="2855638099" sldId="1089"/>
            <ac:spMk id="3" creationId="{B6A3976F-602B-4F59-BE0E-4AFBDEFDA2C1}"/>
          </ac:spMkLst>
        </pc:spChg>
        <pc:spChg chg="mod">
          <ac:chgData name="Laura Smith (DCP)" userId="04d996ad-c8c0-4279-84c0-115ebcf63bba" providerId="ADAL" clId="{A0172E68-F658-4CD4-85E2-7E0070037D88}" dt="2020-08-04T18:35:31.947" v="11398" actId="14100"/>
          <ac:spMkLst>
            <pc:docMk/>
            <pc:sldMk cId="2855638099" sldId="1089"/>
            <ac:spMk id="8" creationId="{B4306CB6-AC48-1546-B565-FD067D80C14C}"/>
          </ac:spMkLst>
        </pc:spChg>
        <pc:spChg chg="add del">
          <ac:chgData name="Laura Smith (DCP)" userId="04d996ad-c8c0-4279-84c0-115ebcf63bba" providerId="ADAL" clId="{A0172E68-F658-4CD4-85E2-7E0070037D88}" dt="2020-08-04T18:35:27.077" v="11397" actId="478"/>
          <ac:spMkLst>
            <pc:docMk/>
            <pc:sldMk cId="2855638099" sldId="1089"/>
            <ac:spMk id="11" creationId="{EDEA5DA2-2AC3-4E56-9E96-EDB538B52D93}"/>
          </ac:spMkLst>
        </pc:spChg>
        <pc:spChg chg="add del">
          <ac:chgData name="Laura Smith (DCP)" userId="04d996ad-c8c0-4279-84c0-115ebcf63bba" providerId="ADAL" clId="{A0172E68-F658-4CD4-85E2-7E0070037D88}" dt="2020-07-28T18:20:25.770" v="2809" actId="478"/>
          <ac:spMkLst>
            <pc:docMk/>
            <pc:sldMk cId="2855638099" sldId="1089"/>
            <ac:spMk id="12" creationId="{378059D4-7BE4-419F-A427-D99257C16868}"/>
          </ac:spMkLst>
        </pc:spChg>
        <pc:spChg chg="mod">
          <ac:chgData name="Laura Smith (DCP)" userId="04d996ad-c8c0-4279-84c0-115ebcf63bba" providerId="ADAL" clId="{A0172E68-F658-4CD4-85E2-7E0070037D88}" dt="2020-08-04T18:35:58.055" v="11420" actId="14100"/>
          <ac:spMkLst>
            <pc:docMk/>
            <pc:sldMk cId="2855638099" sldId="1089"/>
            <ac:spMk id="14" creationId="{437F0068-2F47-8346-A239-A480DB4C0B54}"/>
          </ac:spMkLst>
        </pc:spChg>
        <pc:spChg chg="add mod">
          <ac:chgData name="Laura Smith (DCP)" userId="04d996ad-c8c0-4279-84c0-115ebcf63bba" providerId="ADAL" clId="{A0172E68-F658-4CD4-85E2-7E0070037D88}" dt="2020-08-04T18:36:07.729" v="11423" actId="14100"/>
          <ac:spMkLst>
            <pc:docMk/>
            <pc:sldMk cId="2855638099" sldId="1089"/>
            <ac:spMk id="17" creationId="{CBDAAC02-6733-4FF8-BB19-48AFADD61E91}"/>
          </ac:spMkLst>
        </pc:spChg>
        <pc:graphicFrameChg chg="mod">
          <ac:chgData name="Laura Smith (DCP)" userId="04d996ad-c8c0-4279-84c0-115ebcf63bba" providerId="ADAL" clId="{A0172E68-F658-4CD4-85E2-7E0070037D88}" dt="2020-08-04T18:35:41.783" v="11402" actId="403"/>
          <ac:graphicFrameMkLst>
            <pc:docMk/>
            <pc:sldMk cId="2855638099" sldId="1089"/>
            <ac:graphicFrameMk id="12" creationId="{FDFB51FB-6C34-BA4D-966D-38B3F4DE955A}"/>
          </ac:graphicFrameMkLst>
        </pc:graphicFrameChg>
        <pc:graphicFrameChg chg="mod">
          <ac:chgData name="Laura Smith (DCP)" userId="04d996ad-c8c0-4279-84c0-115ebcf63bba" providerId="ADAL" clId="{A0172E68-F658-4CD4-85E2-7E0070037D88}" dt="2020-07-29T00:21:18.406" v="8533" actId="403"/>
          <ac:graphicFrameMkLst>
            <pc:docMk/>
            <pc:sldMk cId="2855638099" sldId="1089"/>
            <ac:graphicFrameMk id="15" creationId="{FDFB51FB-6C34-BA4D-966D-38B3F4DE955A}"/>
          </ac:graphicFrameMkLst>
        </pc:graphicFrameChg>
      </pc:sldChg>
      <pc:sldChg chg="addSp delSp modSp ord">
        <pc:chgData name="Laura Smith (DCP)" userId="04d996ad-c8c0-4279-84c0-115ebcf63bba" providerId="ADAL" clId="{A0172E68-F658-4CD4-85E2-7E0070037D88}" dt="2020-08-04T23:04:08.309" v="13501"/>
        <pc:sldMkLst>
          <pc:docMk/>
          <pc:sldMk cId="2535481493" sldId="1116"/>
        </pc:sldMkLst>
        <pc:spChg chg="add del mod">
          <ac:chgData name="Laura Smith (DCP)" userId="04d996ad-c8c0-4279-84c0-115ebcf63bba" providerId="ADAL" clId="{A0172E68-F658-4CD4-85E2-7E0070037D88}" dt="2020-08-04T22:50:53.608" v="13178" actId="478"/>
          <ac:spMkLst>
            <pc:docMk/>
            <pc:sldMk cId="2535481493" sldId="1116"/>
            <ac:spMk id="3" creationId="{ADCA80B7-FA51-4361-BD12-C9B3EE2588FA}"/>
          </ac:spMkLst>
        </pc:spChg>
        <pc:spChg chg="add del mod">
          <ac:chgData name="Laura Smith (DCP)" userId="04d996ad-c8c0-4279-84c0-115ebcf63bba" providerId="ADAL" clId="{A0172E68-F658-4CD4-85E2-7E0070037D88}" dt="2020-08-04T16:52:24.654" v="10491" actId="478"/>
          <ac:spMkLst>
            <pc:docMk/>
            <pc:sldMk cId="2535481493" sldId="1116"/>
            <ac:spMk id="7" creationId="{6EF59E5E-98DD-4CD8-BC3E-D0FCB916D322}"/>
          </ac:spMkLst>
        </pc:spChg>
        <pc:spChg chg="mod">
          <ac:chgData name="Laura Smith (DCP)" userId="04d996ad-c8c0-4279-84c0-115ebcf63bba" providerId="ADAL" clId="{A0172E68-F658-4CD4-85E2-7E0070037D88}" dt="2020-08-04T16:54:52.444" v="10685" actId="20577"/>
          <ac:spMkLst>
            <pc:docMk/>
            <pc:sldMk cId="2535481493" sldId="1116"/>
            <ac:spMk id="8" creationId="{B4306CB6-AC48-1546-B565-FD067D80C14C}"/>
          </ac:spMkLst>
        </pc:spChg>
        <pc:spChg chg="add del mod">
          <ac:chgData name="Laura Smith (DCP)" userId="04d996ad-c8c0-4279-84c0-115ebcf63bba" providerId="ADAL" clId="{A0172E68-F658-4CD4-85E2-7E0070037D88}" dt="2020-07-28T15:55:41.666" v="772" actId="478"/>
          <ac:spMkLst>
            <pc:docMk/>
            <pc:sldMk cId="2535481493" sldId="1116"/>
            <ac:spMk id="9" creationId="{39850192-3C35-4B0A-A421-20C70F379955}"/>
          </ac:spMkLst>
        </pc:spChg>
        <pc:spChg chg="add del mod">
          <ac:chgData name="Laura Smith (DCP)" userId="04d996ad-c8c0-4279-84c0-115ebcf63bba" providerId="ADAL" clId="{A0172E68-F658-4CD4-85E2-7E0070037D88}" dt="2020-07-28T16:12:06.545" v="1283" actId="478"/>
          <ac:spMkLst>
            <pc:docMk/>
            <pc:sldMk cId="2535481493" sldId="1116"/>
            <ac:spMk id="11" creationId="{97EF93DB-5608-4499-B40C-B991A2A25E2D}"/>
          </ac:spMkLst>
        </pc:spChg>
        <pc:graphicFrameChg chg="mod">
          <ac:chgData name="Laura Smith (DCP)" userId="04d996ad-c8c0-4279-84c0-115ebcf63bba" providerId="ADAL" clId="{A0172E68-F658-4CD4-85E2-7E0070037D88}" dt="2020-08-04T16:53:23.575" v="10619" actId="14100"/>
          <ac:graphicFrameMkLst>
            <pc:docMk/>
            <pc:sldMk cId="2535481493" sldId="1116"/>
            <ac:graphicFrameMk id="9" creationId="{7CA9D784-8A66-BF44-A6EA-3D4DAC7EF62A}"/>
          </ac:graphicFrameMkLst>
        </pc:graphicFrameChg>
        <pc:graphicFrameChg chg="mod topLvl modGraphic">
          <ac:chgData name="Laura Smith (DCP)" userId="04d996ad-c8c0-4279-84c0-115ebcf63bba" providerId="ADAL" clId="{A0172E68-F658-4CD4-85E2-7E0070037D88}" dt="2020-07-28T21:38:41.331" v="4278" actId="207"/>
          <ac:graphicFrameMkLst>
            <pc:docMk/>
            <pc:sldMk cId="2535481493" sldId="1116"/>
            <ac:graphicFrameMk id="10" creationId="{7CA9D784-8A66-BF44-A6EA-3D4DAC7EF62A}"/>
          </ac:graphicFrameMkLst>
        </pc:graphicFrameChg>
      </pc:sldChg>
      <pc:sldChg chg="addSp delSp modSp">
        <pc:chgData name="Laura Smith (DCP)" userId="04d996ad-c8c0-4279-84c0-115ebcf63bba" providerId="ADAL" clId="{A0172E68-F658-4CD4-85E2-7E0070037D88}" dt="2020-08-04T23:55:39.555" v="15143" actId="1035"/>
        <pc:sldMkLst>
          <pc:docMk/>
          <pc:sldMk cId="423080654" sldId="1117"/>
        </pc:sldMkLst>
        <pc:spChg chg="add del mod">
          <ac:chgData name="Laura Smith (DCP)" userId="04d996ad-c8c0-4279-84c0-115ebcf63bba" providerId="ADAL" clId="{A0172E68-F658-4CD4-85E2-7E0070037D88}" dt="2020-08-04T18:06:23.848" v="11348" actId="478"/>
          <ac:spMkLst>
            <pc:docMk/>
            <pc:sldMk cId="423080654" sldId="1117"/>
            <ac:spMk id="3" creationId="{555F606F-5DA5-4A0E-B898-2535635C0662}"/>
          </ac:spMkLst>
        </pc:spChg>
        <pc:spChg chg="mod">
          <ac:chgData name="Laura Smith (DCP)" userId="04d996ad-c8c0-4279-84c0-115ebcf63bba" providerId="ADAL" clId="{A0172E68-F658-4CD4-85E2-7E0070037D88}" dt="2020-08-04T23:55:39.555" v="15143" actId="1035"/>
          <ac:spMkLst>
            <pc:docMk/>
            <pc:sldMk cId="423080654" sldId="1117"/>
            <ac:spMk id="5" creationId="{96C384E0-20DE-4763-A9A3-2599802CC195}"/>
          </ac:spMkLst>
        </pc:spChg>
        <pc:spChg chg="mod">
          <ac:chgData name="Laura Smith (DCP)" userId="04d996ad-c8c0-4279-84c0-115ebcf63bba" providerId="ADAL" clId="{A0172E68-F658-4CD4-85E2-7E0070037D88}" dt="2020-07-28T18:00:55.388" v="2793" actId="1036"/>
          <ac:spMkLst>
            <pc:docMk/>
            <pc:sldMk cId="423080654" sldId="1117"/>
            <ac:spMk id="8" creationId="{B4306CB6-AC48-1546-B565-FD067D80C14C}"/>
          </ac:spMkLst>
        </pc:spChg>
        <pc:spChg chg="add del mod">
          <ac:chgData name="Laura Smith (DCP)" userId="04d996ad-c8c0-4279-84c0-115ebcf63bba" providerId="ADAL" clId="{A0172E68-F658-4CD4-85E2-7E0070037D88}" dt="2020-07-28T18:00:18.988" v="2776" actId="478"/>
          <ac:spMkLst>
            <pc:docMk/>
            <pc:sldMk cId="423080654" sldId="1117"/>
            <ac:spMk id="11" creationId="{6B152B3B-EA5E-41FC-B8BE-ADD738BC18C6}"/>
          </ac:spMkLst>
        </pc:spChg>
        <pc:spChg chg="add mod">
          <ac:chgData name="Laura Smith (DCP)" userId="04d996ad-c8c0-4279-84c0-115ebcf63bba" providerId="ADAL" clId="{A0172E68-F658-4CD4-85E2-7E0070037D88}" dt="2020-08-04T18:06:43.858" v="11354" actId="14100"/>
          <ac:spMkLst>
            <pc:docMk/>
            <pc:sldMk cId="423080654" sldId="1117"/>
            <ac:spMk id="12" creationId="{31A71D83-830E-4E53-B8AD-163D71430676}"/>
          </ac:spMkLst>
        </pc:spChg>
        <pc:spChg chg="del mod">
          <ac:chgData name="Laura Smith (DCP)" userId="04d996ad-c8c0-4279-84c0-115ebcf63bba" providerId="ADAL" clId="{A0172E68-F658-4CD4-85E2-7E0070037D88}" dt="2020-08-04T18:07:19.288" v="11357"/>
          <ac:spMkLst>
            <pc:docMk/>
            <pc:sldMk cId="423080654" sldId="1117"/>
            <ac:spMk id="14" creationId="{437F0068-2F47-8346-A239-A480DB4C0B54}"/>
          </ac:spMkLst>
        </pc:spChg>
        <pc:spChg chg="add mod">
          <ac:chgData name="Laura Smith (DCP)" userId="04d996ad-c8c0-4279-84c0-115ebcf63bba" providerId="ADAL" clId="{A0172E68-F658-4CD4-85E2-7E0070037D88}" dt="2020-08-04T23:54:52.832" v="15111" actId="1035"/>
          <ac:spMkLst>
            <pc:docMk/>
            <pc:sldMk cId="423080654" sldId="1117"/>
            <ac:spMk id="16" creationId="{EEAAF4E4-3BF2-4A27-AE32-5FE651902BB5}"/>
          </ac:spMkLst>
        </pc:spChg>
        <pc:graphicFrameChg chg="mod">
          <ac:chgData name="Laura Smith (DCP)" userId="04d996ad-c8c0-4279-84c0-115ebcf63bba" providerId="ADAL" clId="{A0172E68-F658-4CD4-85E2-7E0070037D88}" dt="2020-08-04T23:54:49.337" v="15100" actId="14100"/>
          <ac:graphicFrameMkLst>
            <pc:docMk/>
            <pc:sldMk cId="423080654" sldId="1117"/>
            <ac:graphicFrameMk id="10" creationId="{CF9C6408-D442-3F4B-BC9E-BBA8FF4D2B0C}"/>
          </ac:graphicFrameMkLst>
        </pc:graphicFrameChg>
        <pc:graphicFrameChg chg="mod">
          <ac:chgData name="Laura Smith (DCP)" userId="04d996ad-c8c0-4279-84c0-115ebcf63bba" providerId="ADAL" clId="{A0172E68-F658-4CD4-85E2-7E0070037D88}" dt="2020-07-28T18:00:28.576" v="2777"/>
          <ac:graphicFrameMkLst>
            <pc:docMk/>
            <pc:sldMk cId="423080654" sldId="1117"/>
            <ac:graphicFrameMk id="13" creationId="{F257EF17-6266-794F-B69D-7E12BB582904}"/>
          </ac:graphicFrameMkLst>
        </pc:graphicFrameChg>
        <pc:graphicFrameChg chg="mod">
          <ac:chgData name="Laura Smith (DCP)" userId="04d996ad-c8c0-4279-84c0-115ebcf63bba" providerId="ADAL" clId="{A0172E68-F658-4CD4-85E2-7E0070037D88}" dt="2020-07-28T18:00:46.788" v="2786" actId="14100"/>
          <ac:graphicFrameMkLst>
            <pc:docMk/>
            <pc:sldMk cId="423080654" sldId="1117"/>
            <ac:graphicFrameMk id="15" creationId="{CBDF49BE-05E1-D947-9E53-6A95B9817C41}"/>
          </ac:graphicFrameMkLst>
        </pc:graphicFrameChg>
      </pc:sldChg>
      <pc:sldChg chg="addSp delSp modSp">
        <pc:chgData name="Laura Smith (DCP)" userId="04d996ad-c8c0-4279-84c0-115ebcf63bba" providerId="ADAL" clId="{A0172E68-F658-4CD4-85E2-7E0070037D88}" dt="2020-08-04T23:55:29.315" v="15118" actId="1036"/>
        <pc:sldMkLst>
          <pc:docMk/>
          <pc:sldMk cId="1462918329" sldId="1118"/>
        </pc:sldMkLst>
        <pc:spChg chg="mod">
          <ac:chgData name="Laura Smith (DCP)" userId="04d996ad-c8c0-4279-84c0-115ebcf63bba" providerId="ADAL" clId="{A0172E68-F658-4CD4-85E2-7E0070037D88}" dt="2020-07-28T18:06:53.553" v="2807" actId="6549"/>
          <ac:spMkLst>
            <pc:docMk/>
            <pc:sldMk cId="1462918329" sldId="1118"/>
            <ac:spMk id="6" creationId="{6112D5FE-E18B-6A43-BA78-7662CB7AF3D1}"/>
          </ac:spMkLst>
        </pc:spChg>
        <pc:spChg chg="mod">
          <ac:chgData name="Laura Smith (DCP)" userId="04d996ad-c8c0-4279-84c0-115ebcf63bba" providerId="ADAL" clId="{A0172E68-F658-4CD4-85E2-7E0070037D88}" dt="2020-08-04T18:34:44.283" v="11390" actId="14100"/>
          <ac:spMkLst>
            <pc:docMk/>
            <pc:sldMk cId="1462918329" sldId="1118"/>
            <ac:spMk id="7" creationId="{5DD5AC5F-360F-8042-AE73-AF91185B9B19}"/>
          </ac:spMkLst>
        </pc:spChg>
        <pc:spChg chg="add del">
          <ac:chgData name="Laura Smith (DCP)" userId="04d996ad-c8c0-4279-84c0-115ebcf63bba" providerId="ADAL" clId="{A0172E68-F658-4CD4-85E2-7E0070037D88}" dt="2020-08-04T18:34:23.797" v="11386" actId="478"/>
          <ac:spMkLst>
            <pc:docMk/>
            <pc:sldMk cId="1462918329" sldId="1118"/>
            <ac:spMk id="9" creationId="{19E7725F-4B3D-4023-BAE1-2F83402B9EB3}"/>
          </ac:spMkLst>
        </pc:spChg>
        <pc:spChg chg="mod">
          <ac:chgData name="Laura Smith (DCP)" userId="04d996ad-c8c0-4279-84c0-115ebcf63bba" providerId="ADAL" clId="{A0172E68-F658-4CD4-85E2-7E0070037D88}" dt="2020-08-04T23:55:29.315" v="15118" actId="1036"/>
          <ac:spMkLst>
            <pc:docMk/>
            <pc:sldMk cId="1462918329" sldId="1118"/>
            <ac:spMk id="10" creationId="{FE15DC25-7282-4E24-BEC3-A8CE6DA6D05B}"/>
          </ac:spMkLst>
        </pc:spChg>
        <pc:spChg chg="add del">
          <ac:chgData name="Laura Smith (DCP)" userId="04d996ad-c8c0-4279-84c0-115ebcf63bba" providerId="ADAL" clId="{A0172E68-F658-4CD4-85E2-7E0070037D88}" dt="2020-07-28T18:02:05.922" v="2806" actId="478"/>
          <ac:spMkLst>
            <pc:docMk/>
            <pc:sldMk cId="1462918329" sldId="1118"/>
            <ac:spMk id="12" creationId="{7909E366-FBD2-40B1-AE16-FEB1167C8625}"/>
          </ac:spMkLst>
        </pc:spChg>
        <pc:spChg chg="add mod">
          <ac:chgData name="Laura Smith (DCP)" userId="04d996ad-c8c0-4279-84c0-115ebcf63bba" providerId="ADAL" clId="{A0172E68-F658-4CD4-85E2-7E0070037D88}" dt="2020-08-04T18:35:11.821" v="11396" actId="14100"/>
          <ac:spMkLst>
            <pc:docMk/>
            <pc:sldMk cId="1462918329" sldId="1118"/>
            <ac:spMk id="15" creationId="{42EEFAD9-EB99-4632-9C99-DBE1303C9E5C}"/>
          </ac:spMkLst>
        </pc:spChg>
        <pc:graphicFrameChg chg="mod">
          <ac:chgData name="Laura Smith (DCP)" userId="04d996ad-c8c0-4279-84c0-115ebcf63bba" providerId="ADAL" clId="{A0172E68-F658-4CD4-85E2-7E0070037D88}" dt="2020-08-04T18:34:29.055" v="11387" actId="14100"/>
          <ac:graphicFrameMkLst>
            <pc:docMk/>
            <pc:sldMk cId="1462918329" sldId="1118"/>
            <ac:graphicFrameMk id="11" creationId="{09E4867E-86BF-F842-86A3-FA8343B6AC69}"/>
          </ac:graphicFrameMkLst>
        </pc:graphicFrameChg>
        <pc:graphicFrameChg chg="mod">
          <ac:chgData name="Laura Smith (DCP)" userId="04d996ad-c8c0-4279-84c0-115ebcf63bba" providerId="ADAL" clId="{A0172E68-F658-4CD4-85E2-7E0070037D88}" dt="2020-08-04T18:34:36.806" v="11388" actId="14100"/>
          <ac:graphicFrameMkLst>
            <pc:docMk/>
            <pc:sldMk cId="1462918329" sldId="1118"/>
            <ac:graphicFrameMk id="12" creationId="{9BDD3167-C185-E640-8474-A9E5E82FE47E}"/>
          </ac:graphicFrameMkLst>
        </pc:graphicFrameChg>
        <pc:graphicFrameChg chg="mod">
          <ac:chgData name="Laura Smith (DCP)" userId="04d996ad-c8c0-4279-84c0-115ebcf63bba" providerId="ADAL" clId="{A0172E68-F658-4CD4-85E2-7E0070037D88}" dt="2020-07-28T18:02:02.925" v="2805" actId="167"/>
          <ac:graphicFrameMkLst>
            <pc:docMk/>
            <pc:sldMk cId="1462918329" sldId="1118"/>
            <ac:graphicFrameMk id="13" creationId="{09E4867E-86BF-F842-86A3-FA8343B6AC69}"/>
          </ac:graphicFrameMkLst>
        </pc:graphicFrameChg>
        <pc:graphicFrameChg chg="mod">
          <ac:chgData name="Laura Smith (DCP)" userId="04d996ad-c8c0-4279-84c0-115ebcf63bba" providerId="ADAL" clId="{A0172E68-F658-4CD4-85E2-7E0070037D88}" dt="2020-07-28T21:41:05.449" v="4281" actId="207"/>
          <ac:graphicFrameMkLst>
            <pc:docMk/>
            <pc:sldMk cId="1462918329" sldId="1118"/>
            <ac:graphicFrameMk id="14" creationId="{9BDD3167-C185-E640-8474-A9E5E82FE47E}"/>
          </ac:graphicFrameMkLst>
        </pc:graphicFrameChg>
      </pc:sldChg>
      <pc:sldChg chg="addSp delSp modSp delCm">
        <pc:chgData name="Laura Smith (DCP)" userId="04d996ad-c8c0-4279-84c0-115ebcf63bba" providerId="ADAL" clId="{A0172E68-F658-4CD4-85E2-7E0070037D88}" dt="2020-08-04T23:55:34.899" v="15131" actId="1035"/>
        <pc:sldMkLst>
          <pc:docMk/>
          <pc:sldMk cId="2318289709" sldId="1119"/>
        </pc:sldMkLst>
        <pc:spChg chg="mod">
          <ac:chgData name="Laura Smith (DCP)" userId="04d996ad-c8c0-4279-84c0-115ebcf63bba" providerId="ADAL" clId="{A0172E68-F658-4CD4-85E2-7E0070037D88}" dt="2020-08-04T22:49:15.039" v="13176" actId="14100"/>
          <ac:spMkLst>
            <pc:docMk/>
            <pc:sldMk cId="2318289709" sldId="1119"/>
            <ac:spMk id="6" creationId="{6112D5FE-E18B-6A43-BA78-7662CB7AF3D1}"/>
          </ac:spMkLst>
        </pc:spChg>
        <pc:spChg chg="del mod">
          <ac:chgData name="Laura Smith (DCP)" userId="04d996ad-c8c0-4279-84c0-115ebcf63bba" providerId="ADAL" clId="{A0172E68-F658-4CD4-85E2-7E0070037D88}" dt="2020-08-04T18:33:41.123" v="11368"/>
          <ac:spMkLst>
            <pc:docMk/>
            <pc:sldMk cId="2318289709" sldId="1119"/>
            <ac:spMk id="7" creationId="{5DD5AC5F-360F-8042-AE73-AF91185B9B19}"/>
          </ac:spMkLst>
        </pc:spChg>
        <pc:spChg chg="add del">
          <ac:chgData name="Laura Smith (DCP)" userId="04d996ad-c8c0-4279-84c0-115ebcf63bba" providerId="ADAL" clId="{A0172E68-F658-4CD4-85E2-7E0070037D88}" dt="2020-08-04T18:33:14.583" v="11363" actId="478"/>
          <ac:spMkLst>
            <pc:docMk/>
            <pc:sldMk cId="2318289709" sldId="1119"/>
            <ac:spMk id="9" creationId="{CD579482-B400-47D8-86B6-33B1240F4ABF}"/>
          </ac:spMkLst>
        </pc:spChg>
        <pc:spChg chg="mod">
          <ac:chgData name="Laura Smith (DCP)" userId="04d996ad-c8c0-4279-84c0-115ebcf63bba" providerId="ADAL" clId="{A0172E68-F658-4CD4-85E2-7E0070037D88}" dt="2020-08-04T23:55:34.899" v="15131" actId="1035"/>
          <ac:spMkLst>
            <pc:docMk/>
            <pc:sldMk cId="2318289709" sldId="1119"/>
            <ac:spMk id="10" creationId="{FE15DC25-7282-4E24-BEC3-A8CE6DA6D05B}"/>
          </ac:spMkLst>
        </pc:spChg>
        <pc:spChg chg="add del">
          <ac:chgData name="Laura Smith (DCP)" userId="04d996ad-c8c0-4279-84c0-115ebcf63bba" providerId="ADAL" clId="{A0172E68-F658-4CD4-85E2-7E0070037D88}" dt="2020-07-28T18:01:13.473" v="2794" actId="478"/>
          <ac:spMkLst>
            <pc:docMk/>
            <pc:sldMk cId="2318289709" sldId="1119"/>
            <ac:spMk id="12" creationId="{822BC163-AC38-49DD-9AD4-7838F2537F49}"/>
          </ac:spMkLst>
        </pc:spChg>
        <pc:spChg chg="add del mod">
          <ac:chgData name="Laura Smith (DCP)" userId="04d996ad-c8c0-4279-84c0-115ebcf63bba" providerId="ADAL" clId="{A0172E68-F658-4CD4-85E2-7E0070037D88}" dt="2020-08-04T18:33:52.150" v="11372"/>
          <ac:spMkLst>
            <pc:docMk/>
            <pc:sldMk cId="2318289709" sldId="1119"/>
            <ac:spMk id="13" creationId="{DF1AC020-F761-42BF-A087-91E89171FBCD}"/>
          </ac:spMkLst>
        </pc:spChg>
        <pc:spChg chg="add mod">
          <ac:chgData name="Laura Smith (DCP)" userId="04d996ad-c8c0-4279-84c0-115ebcf63bba" providerId="ADAL" clId="{A0172E68-F658-4CD4-85E2-7E0070037D88}" dt="2020-08-04T18:33:56.027" v="11374" actId="14100"/>
          <ac:spMkLst>
            <pc:docMk/>
            <pc:sldMk cId="2318289709" sldId="1119"/>
            <ac:spMk id="16" creationId="{6C861208-9C6B-48E6-A4CA-BDD28984EE2A}"/>
          </ac:spMkLst>
        </pc:spChg>
        <pc:spChg chg="add mod">
          <ac:chgData name="Laura Smith (DCP)" userId="04d996ad-c8c0-4279-84c0-115ebcf63bba" providerId="ADAL" clId="{A0172E68-F658-4CD4-85E2-7E0070037D88}" dt="2020-08-04T18:34:12.960" v="11384" actId="1038"/>
          <ac:spMkLst>
            <pc:docMk/>
            <pc:sldMk cId="2318289709" sldId="1119"/>
            <ac:spMk id="17" creationId="{E6DF6D2B-59C0-4A3B-9366-FC1EA3CBADC0}"/>
          </ac:spMkLst>
        </pc:spChg>
        <pc:graphicFrameChg chg="mod">
          <ac:chgData name="Laura Smith (DCP)" userId="04d996ad-c8c0-4279-84c0-115ebcf63bba" providerId="ADAL" clId="{A0172E68-F658-4CD4-85E2-7E0070037D88}" dt="2020-08-04T18:33:27.908" v="11366" actId="14100"/>
          <ac:graphicFrameMkLst>
            <pc:docMk/>
            <pc:sldMk cId="2318289709" sldId="1119"/>
            <ac:graphicFrameMk id="11" creationId="{314DAC1C-7548-AD43-847D-4D92A07546B4}"/>
          </ac:graphicFrameMkLst>
        </pc:graphicFrameChg>
        <pc:graphicFrameChg chg="mod">
          <ac:chgData name="Laura Smith (DCP)" userId="04d996ad-c8c0-4279-84c0-115ebcf63bba" providerId="ADAL" clId="{A0172E68-F658-4CD4-85E2-7E0070037D88}" dt="2020-08-04T18:34:02.370" v="11376" actId="14100"/>
          <ac:graphicFrameMkLst>
            <pc:docMk/>
            <pc:sldMk cId="2318289709" sldId="1119"/>
            <ac:graphicFrameMk id="12" creationId="{013EBD7A-8F34-E341-9996-60CA6B2E0C8E}"/>
          </ac:graphicFrameMkLst>
        </pc:graphicFrameChg>
      </pc:sldChg>
      <pc:sldChg chg="addSp delSp modSp ord">
        <pc:chgData name="Laura Smith (DCP)" userId="04d996ad-c8c0-4279-84c0-115ebcf63bba" providerId="ADAL" clId="{A0172E68-F658-4CD4-85E2-7E0070037D88}" dt="2020-08-04T23:05:12.042" v="13506" actId="20577"/>
        <pc:sldMkLst>
          <pc:docMk/>
          <pc:sldMk cId="3338364421" sldId="1128"/>
        </pc:sldMkLst>
        <pc:spChg chg="mod">
          <ac:chgData name="Laura Smith (DCP)" userId="04d996ad-c8c0-4279-84c0-115ebcf63bba" providerId="ADAL" clId="{A0172E68-F658-4CD4-85E2-7E0070037D88}" dt="2020-07-27T18:38:10.904" v="661" actId="20577"/>
          <ac:spMkLst>
            <pc:docMk/>
            <pc:sldMk cId="3338364421" sldId="1128"/>
            <ac:spMk id="2" creationId="{34067B45-0477-41C4-847B-3BFADB14672F}"/>
          </ac:spMkLst>
        </pc:spChg>
        <pc:spChg chg="del">
          <ac:chgData name="Laura Smith (DCP)" userId="04d996ad-c8c0-4279-84c0-115ebcf63bba" providerId="ADAL" clId="{A0172E68-F658-4CD4-85E2-7E0070037D88}" dt="2020-07-28T17:06:38.778" v="1942" actId="478"/>
          <ac:spMkLst>
            <pc:docMk/>
            <pc:sldMk cId="3338364421" sldId="1128"/>
            <ac:spMk id="3" creationId="{FCF75022-195B-4E28-A702-EB7B1EFF38DB}"/>
          </ac:spMkLst>
        </pc:spChg>
        <pc:spChg chg="mod">
          <ac:chgData name="Laura Smith (DCP)" userId="04d996ad-c8c0-4279-84c0-115ebcf63bba" providerId="ADAL" clId="{A0172E68-F658-4CD4-85E2-7E0070037D88}" dt="2020-07-29T00:20:36.019" v="8529" actId="1036"/>
          <ac:spMkLst>
            <pc:docMk/>
            <pc:sldMk cId="3338364421" sldId="1128"/>
            <ac:spMk id="8" creationId="{34CCD13F-ECFC-4789-86D6-115EF2F75F10}"/>
          </ac:spMkLst>
        </pc:spChg>
        <pc:spChg chg="add mod">
          <ac:chgData name="Laura Smith (DCP)" userId="04d996ad-c8c0-4279-84c0-115ebcf63bba" providerId="ADAL" clId="{A0172E68-F658-4CD4-85E2-7E0070037D88}" dt="2020-07-30T18:18:34.464" v="8719" actId="20577"/>
          <ac:spMkLst>
            <pc:docMk/>
            <pc:sldMk cId="3338364421" sldId="1128"/>
            <ac:spMk id="12" creationId="{8DF22D6B-290E-4C37-93DE-D5FB973430D7}"/>
          </ac:spMkLst>
        </pc:spChg>
        <pc:spChg chg="mod">
          <ac:chgData name="Laura Smith (DCP)" userId="04d996ad-c8c0-4279-84c0-115ebcf63bba" providerId="ADAL" clId="{A0172E68-F658-4CD4-85E2-7E0070037D88}" dt="2020-07-29T00:20:36.019" v="8529" actId="1036"/>
          <ac:spMkLst>
            <pc:docMk/>
            <pc:sldMk cId="3338364421" sldId="1128"/>
            <ac:spMk id="16" creationId="{085D41A7-F096-4C0E-B8F3-DD0B86291275}"/>
          </ac:spMkLst>
        </pc:spChg>
        <pc:spChg chg="mod">
          <ac:chgData name="Laura Smith (DCP)" userId="04d996ad-c8c0-4279-84c0-115ebcf63bba" providerId="ADAL" clId="{A0172E68-F658-4CD4-85E2-7E0070037D88}" dt="2020-08-04T23:05:12.042" v="13506" actId="20577"/>
          <ac:spMkLst>
            <pc:docMk/>
            <pc:sldMk cId="3338364421" sldId="1128"/>
            <ac:spMk id="20" creationId="{F5A93634-EFB0-4F1D-8EB9-1AD5FF7384D9}"/>
          </ac:spMkLst>
        </pc:spChg>
        <pc:picChg chg="mod">
          <ac:chgData name="Laura Smith (DCP)" userId="04d996ad-c8c0-4279-84c0-115ebcf63bba" providerId="ADAL" clId="{A0172E68-F658-4CD4-85E2-7E0070037D88}" dt="2020-07-29T00:20:36.019" v="8529" actId="1036"/>
          <ac:picMkLst>
            <pc:docMk/>
            <pc:sldMk cId="3338364421" sldId="1128"/>
            <ac:picMk id="5" creationId="{A3906CEF-BE70-4025-865E-2E48F0924713}"/>
          </ac:picMkLst>
        </pc:picChg>
        <pc:picChg chg="mod">
          <ac:chgData name="Laura Smith (DCP)" userId="04d996ad-c8c0-4279-84c0-115ebcf63bba" providerId="ADAL" clId="{A0172E68-F658-4CD4-85E2-7E0070037D88}" dt="2020-07-29T00:20:36.019" v="8529" actId="1036"/>
          <ac:picMkLst>
            <pc:docMk/>
            <pc:sldMk cId="3338364421" sldId="1128"/>
            <ac:picMk id="6" creationId="{1CCEDF6C-263D-4381-86E7-FFD7A9D193FD}"/>
          </ac:picMkLst>
        </pc:picChg>
        <pc:picChg chg="mod">
          <ac:chgData name="Laura Smith (DCP)" userId="04d996ad-c8c0-4279-84c0-115ebcf63bba" providerId="ADAL" clId="{A0172E68-F658-4CD4-85E2-7E0070037D88}" dt="2020-07-29T00:20:36.019" v="8529" actId="1036"/>
          <ac:picMkLst>
            <pc:docMk/>
            <pc:sldMk cId="3338364421" sldId="1128"/>
            <ac:picMk id="9" creationId="{6D126717-BAC9-402F-AE7A-0E15454AE1D1}"/>
          </ac:picMkLst>
        </pc:picChg>
        <pc:picChg chg="mod">
          <ac:chgData name="Laura Smith (DCP)" userId="04d996ad-c8c0-4279-84c0-115ebcf63bba" providerId="ADAL" clId="{A0172E68-F658-4CD4-85E2-7E0070037D88}" dt="2020-07-29T00:20:36.019" v="8529" actId="1036"/>
          <ac:picMkLst>
            <pc:docMk/>
            <pc:sldMk cId="3338364421" sldId="1128"/>
            <ac:picMk id="10" creationId="{02E329E2-D061-4AE7-9F66-D4C6241B9068}"/>
          </ac:picMkLst>
        </pc:picChg>
      </pc:sldChg>
      <pc:sldChg chg="addSp modSp add">
        <pc:chgData name="Laura Smith (DCP)" userId="04d996ad-c8c0-4279-84c0-115ebcf63bba" providerId="ADAL" clId="{A0172E68-F658-4CD4-85E2-7E0070037D88}" dt="2020-08-04T23:03:02.529" v="13486" actId="20577"/>
        <pc:sldMkLst>
          <pc:docMk/>
          <pc:sldMk cId="2119415700" sldId="1132"/>
        </pc:sldMkLst>
        <pc:spChg chg="mod">
          <ac:chgData name="Laura Smith (DCP)" userId="04d996ad-c8c0-4279-84c0-115ebcf63bba" providerId="ADAL" clId="{A0172E68-F658-4CD4-85E2-7E0070037D88}" dt="2020-08-04T22:52:23.987" v="13199" actId="20577"/>
          <ac:spMkLst>
            <pc:docMk/>
            <pc:sldMk cId="2119415700" sldId="1132"/>
            <ac:spMk id="2" creationId="{1240F7AE-FDAF-4042-9B2D-27BF33203725}"/>
          </ac:spMkLst>
        </pc:spChg>
        <pc:spChg chg="mod">
          <ac:chgData name="Laura Smith (DCP)" userId="04d996ad-c8c0-4279-84c0-115ebcf63bba" providerId="ADAL" clId="{A0172E68-F658-4CD4-85E2-7E0070037D88}" dt="2020-08-04T23:03:02.529" v="13486" actId="20577"/>
          <ac:spMkLst>
            <pc:docMk/>
            <pc:sldMk cId="2119415700" sldId="1132"/>
            <ac:spMk id="11" creationId="{3D4BD243-6BB9-4167-91CA-D171B4EC2B79}"/>
          </ac:spMkLst>
        </pc:spChg>
        <pc:spChg chg="add mod">
          <ac:chgData name="Laura Smith (DCP)" userId="04d996ad-c8c0-4279-84c0-115ebcf63bba" providerId="ADAL" clId="{A0172E68-F658-4CD4-85E2-7E0070037D88}" dt="2020-07-30T18:17:15.164" v="8637" actId="20577"/>
          <ac:spMkLst>
            <pc:docMk/>
            <pc:sldMk cId="2119415700" sldId="1132"/>
            <ac:spMk id="29" creationId="{C711F12B-15CD-4BEB-8098-EBEB0B897A10}"/>
          </ac:spMkLst>
        </pc:spChg>
        <pc:grpChg chg="mod">
          <ac:chgData name="Laura Smith (DCP)" userId="04d996ad-c8c0-4279-84c0-115ebcf63bba" providerId="ADAL" clId="{A0172E68-F658-4CD4-85E2-7E0070037D88}" dt="2020-08-04T22:54:08.162" v="13282" actId="1036"/>
          <ac:grpSpMkLst>
            <pc:docMk/>
            <pc:sldMk cId="2119415700" sldId="1132"/>
            <ac:grpSpMk id="14" creationId="{51D7E514-97F9-4E49-8257-3A7C5D002E4B}"/>
          </ac:grpSpMkLst>
        </pc:grpChg>
      </pc:sldChg>
      <pc:sldChg chg="addSp delSp modSp add">
        <pc:chgData name="Laura Smith (DCP)" userId="04d996ad-c8c0-4279-84c0-115ebcf63bba" providerId="ADAL" clId="{A0172E68-F658-4CD4-85E2-7E0070037D88}" dt="2020-08-04T23:03:17.026" v="13496" actId="20577"/>
        <pc:sldMkLst>
          <pc:docMk/>
          <pc:sldMk cId="3089150047" sldId="1133"/>
        </pc:sldMkLst>
        <pc:spChg chg="mod">
          <ac:chgData name="Laura Smith (DCP)" userId="04d996ad-c8c0-4279-84c0-115ebcf63bba" providerId="ADAL" clId="{A0172E68-F658-4CD4-85E2-7E0070037D88}" dt="2020-08-04T22:52:20.065" v="13198" actId="20577"/>
          <ac:spMkLst>
            <pc:docMk/>
            <pc:sldMk cId="3089150047" sldId="1133"/>
            <ac:spMk id="2" creationId="{1240F7AE-FDAF-4042-9B2D-27BF33203725}"/>
          </ac:spMkLst>
        </pc:spChg>
        <pc:spChg chg="del">
          <ac:chgData name="Laura Smith (DCP)" userId="04d996ad-c8c0-4279-84c0-115ebcf63bba" providerId="ADAL" clId="{A0172E68-F658-4CD4-85E2-7E0070037D88}" dt="2020-08-04T22:51:12.465" v="13179" actId="478"/>
          <ac:spMkLst>
            <pc:docMk/>
            <pc:sldMk cId="3089150047" sldId="1133"/>
            <ac:spMk id="3" creationId="{52598841-95D9-4AD2-9473-713A29E21625}"/>
          </ac:spMkLst>
        </pc:spChg>
        <pc:spChg chg="add mod">
          <ac:chgData name="Laura Smith (DCP)" userId="04d996ad-c8c0-4279-84c0-115ebcf63bba" providerId="ADAL" clId="{A0172E68-F658-4CD4-85E2-7E0070037D88}" dt="2020-07-30T18:17:08.558" v="8629" actId="20577"/>
          <ac:spMkLst>
            <pc:docMk/>
            <pc:sldMk cId="3089150047" sldId="1133"/>
            <ac:spMk id="6" creationId="{7460E582-0E81-4C38-B136-31E6CCE0F130}"/>
          </ac:spMkLst>
        </pc:spChg>
        <pc:spChg chg="mod">
          <ac:chgData name="Laura Smith (DCP)" userId="04d996ad-c8c0-4279-84c0-115ebcf63bba" providerId="ADAL" clId="{A0172E68-F658-4CD4-85E2-7E0070037D88}" dt="2020-08-04T23:03:17.026" v="13496" actId="20577"/>
          <ac:spMkLst>
            <pc:docMk/>
            <pc:sldMk cId="3089150047" sldId="1133"/>
            <ac:spMk id="11" creationId="{3D4BD243-6BB9-4167-91CA-D171B4EC2B79}"/>
          </ac:spMkLst>
        </pc:spChg>
      </pc:sldChg>
      <pc:sldChg chg="addSp modSp">
        <pc:chgData name="Laura Smith (DCP)" userId="04d996ad-c8c0-4279-84c0-115ebcf63bba" providerId="ADAL" clId="{A0172E68-F658-4CD4-85E2-7E0070037D88}" dt="2020-08-04T16:59:44.225" v="10752" actId="1036"/>
        <pc:sldMkLst>
          <pc:docMk/>
          <pc:sldMk cId="3310687531" sldId="1134"/>
        </pc:sldMkLst>
        <pc:spChg chg="add mod">
          <ac:chgData name="Laura Smith (DCP)" userId="04d996ad-c8c0-4279-84c0-115ebcf63bba" providerId="ADAL" clId="{A0172E68-F658-4CD4-85E2-7E0070037D88}" dt="2020-08-04T16:59:44.225" v="10752" actId="1036"/>
          <ac:spMkLst>
            <pc:docMk/>
            <pc:sldMk cId="3310687531" sldId="1134"/>
            <ac:spMk id="3" creationId="{6858E440-5B76-4D68-A87B-A905D688B756}"/>
          </ac:spMkLst>
        </pc:spChg>
        <pc:spChg chg="mod">
          <ac:chgData name="Laura Smith (DCP)" userId="04d996ad-c8c0-4279-84c0-115ebcf63bba" providerId="ADAL" clId="{A0172E68-F658-4CD4-85E2-7E0070037D88}" dt="2020-08-04T16:55:19.981" v="10715" actId="1076"/>
          <ac:spMkLst>
            <pc:docMk/>
            <pc:sldMk cId="3310687531" sldId="1134"/>
            <ac:spMk id="5" creationId="{96C384E0-20DE-4763-A9A3-2599802CC195}"/>
          </ac:spMkLst>
        </pc:spChg>
        <pc:graphicFrameChg chg="mod">
          <ac:chgData name="Laura Smith (DCP)" userId="04d996ad-c8c0-4279-84c0-115ebcf63bba" providerId="ADAL" clId="{A0172E68-F658-4CD4-85E2-7E0070037D88}" dt="2020-08-04T16:59:44.225" v="10752" actId="1036"/>
          <ac:graphicFrameMkLst>
            <pc:docMk/>
            <pc:sldMk cId="3310687531" sldId="1134"/>
            <ac:graphicFrameMk id="10" creationId="{EDA35A6A-F0D3-2048-9F51-ECB2432A8458}"/>
          </ac:graphicFrameMkLst>
        </pc:graphicFrameChg>
        <pc:graphicFrameChg chg="mod">
          <ac:chgData name="Laura Smith (DCP)" userId="04d996ad-c8c0-4279-84c0-115ebcf63bba" providerId="ADAL" clId="{A0172E68-F658-4CD4-85E2-7E0070037D88}" dt="2020-08-04T16:59:44.225" v="10752" actId="1036"/>
          <ac:graphicFrameMkLst>
            <pc:docMk/>
            <pc:sldMk cId="3310687531" sldId="1134"/>
            <ac:graphicFrameMk id="11" creationId="{15CA4A1D-9978-FE49-B612-0CA1F8C502BF}"/>
          </ac:graphicFrameMkLst>
        </pc:graphicFrameChg>
      </pc:sldChg>
      <pc:sldChg chg="addSp delSp modSp delCm modCm">
        <pc:chgData name="Laura Smith (DCP)" userId="04d996ad-c8c0-4279-84c0-115ebcf63bba" providerId="ADAL" clId="{A0172E68-F658-4CD4-85E2-7E0070037D88}" dt="2020-08-04T23:51:58.798" v="15087" actId="1076"/>
        <pc:sldMkLst>
          <pc:docMk/>
          <pc:sldMk cId="368308764" sldId="1135"/>
        </pc:sldMkLst>
        <pc:spChg chg="mod">
          <ac:chgData name="Laura Smith (DCP)" userId="04d996ad-c8c0-4279-84c0-115ebcf63bba" providerId="ADAL" clId="{A0172E68-F658-4CD4-85E2-7E0070037D88}" dt="2020-08-04T23:18:53.762" v="14282" actId="20577"/>
          <ac:spMkLst>
            <pc:docMk/>
            <pc:sldMk cId="368308764" sldId="1135"/>
            <ac:spMk id="2" creationId="{F93AA920-0651-44EC-BBA8-0541EDFD3A31}"/>
          </ac:spMkLst>
        </pc:spChg>
        <pc:spChg chg="mod">
          <ac:chgData name="Laura Smith (DCP)" userId="04d996ad-c8c0-4279-84c0-115ebcf63bba" providerId="ADAL" clId="{A0172E68-F658-4CD4-85E2-7E0070037D88}" dt="2020-08-04T22:56:37.616" v="13379" actId="1076"/>
          <ac:spMkLst>
            <pc:docMk/>
            <pc:sldMk cId="368308764" sldId="1135"/>
            <ac:spMk id="3" creationId="{554134B2-6DC5-4143-826F-00BE0EBC83C7}"/>
          </ac:spMkLst>
        </pc:spChg>
        <pc:spChg chg="add del mod">
          <ac:chgData name="Laura Smith (DCP)" userId="04d996ad-c8c0-4279-84c0-115ebcf63bba" providerId="ADAL" clId="{A0172E68-F658-4CD4-85E2-7E0070037D88}" dt="2020-08-04T19:19:00.324" v="11619" actId="478"/>
          <ac:spMkLst>
            <pc:docMk/>
            <pc:sldMk cId="368308764" sldId="1135"/>
            <ac:spMk id="4" creationId="{529B8205-9844-43B4-AE5B-B4337E826F76}"/>
          </ac:spMkLst>
        </pc:spChg>
        <pc:spChg chg="mod">
          <ac:chgData name="Laura Smith (DCP)" userId="04d996ad-c8c0-4279-84c0-115ebcf63bba" providerId="ADAL" clId="{A0172E68-F658-4CD4-85E2-7E0070037D88}" dt="2020-08-04T23:47:47.577" v="14611" actId="20577"/>
          <ac:spMkLst>
            <pc:docMk/>
            <pc:sldMk cId="368308764" sldId="1135"/>
            <ac:spMk id="4" creationId="{C83A39A5-0B11-4EA9-ACA0-7F329F5FC475}"/>
          </ac:spMkLst>
        </pc:spChg>
        <pc:spChg chg="mod">
          <ac:chgData name="Laura Smith (DCP)" userId="04d996ad-c8c0-4279-84c0-115ebcf63bba" providerId="ADAL" clId="{A0172E68-F658-4CD4-85E2-7E0070037D88}" dt="2020-08-04T19:19:12.468" v="11676" actId="20577"/>
          <ac:spMkLst>
            <pc:docMk/>
            <pc:sldMk cId="368308764" sldId="1135"/>
            <ac:spMk id="5" creationId="{37CF91D2-1357-4EDC-B842-7587FC0C3B58}"/>
          </ac:spMkLst>
        </pc:spChg>
        <pc:spChg chg="mod">
          <ac:chgData name="Laura Smith (DCP)" userId="04d996ad-c8c0-4279-84c0-115ebcf63bba" providerId="ADAL" clId="{A0172E68-F658-4CD4-85E2-7E0070037D88}" dt="2020-08-04T23:51:58.798" v="15087" actId="1076"/>
          <ac:spMkLst>
            <pc:docMk/>
            <pc:sldMk cId="368308764" sldId="1135"/>
            <ac:spMk id="29" creationId="{3A7F612F-FF02-4635-BBCA-46D97F435F4F}"/>
          </ac:spMkLst>
        </pc:spChg>
        <pc:spChg chg="del">
          <ac:chgData name="Laura Smith (DCP)" userId="04d996ad-c8c0-4279-84c0-115ebcf63bba" providerId="ADAL" clId="{A0172E68-F658-4CD4-85E2-7E0070037D88}" dt="2020-08-04T23:18:42.501" v="14275" actId="478"/>
          <ac:spMkLst>
            <pc:docMk/>
            <pc:sldMk cId="368308764" sldId="1135"/>
            <ac:spMk id="31" creationId="{2E985DAE-7097-4D47-BB12-815B8F6760EE}"/>
          </ac:spMkLst>
        </pc:spChg>
      </pc:sldChg>
      <pc:sldChg chg="addSp modSp delCm">
        <pc:chgData name="Laura Smith (DCP)" userId="04d996ad-c8c0-4279-84c0-115ebcf63bba" providerId="ADAL" clId="{A0172E68-F658-4CD4-85E2-7E0070037D88}" dt="2020-08-04T22:43:38.145" v="12865" actId="1076"/>
        <pc:sldMkLst>
          <pc:docMk/>
          <pc:sldMk cId="687598378" sldId="1138"/>
        </pc:sldMkLst>
        <pc:spChg chg="add mod">
          <ac:chgData name="Laura Smith (DCP)" userId="04d996ad-c8c0-4279-84c0-115ebcf63bba" providerId="ADAL" clId="{A0172E68-F658-4CD4-85E2-7E0070037D88}" dt="2020-08-04T22:42:31.009" v="12809" actId="20577"/>
          <ac:spMkLst>
            <pc:docMk/>
            <pc:sldMk cId="687598378" sldId="1138"/>
            <ac:spMk id="3" creationId="{5FEDDE65-538B-4483-A523-FFBD93EBB1D7}"/>
          </ac:spMkLst>
        </pc:spChg>
        <pc:spChg chg="mod">
          <ac:chgData name="Laura Smith (DCP)" userId="04d996ad-c8c0-4279-84c0-115ebcf63bba" providerId="ADAL" clId="{A0172E68-F658-4CD4-85E2-7E0070037D88}" dt="2020-08-04T22:40:08.961" v="12644" actId="20577"/>
          <ac:spMkLst>
            <pc:docMk/>
            <pc:sldMk cId="687598378" sldId="1138"/>
            <ac:spMk id="12" creationId="{901C141F-C8E0-4343-A23E-E4B55C87309D}"/>
          </ac:spMkLst>
        </pc:spChg>
        <pc:spChg chg="mod">
          <ac:chgData name="Laura Smith (DCP)" userId="04d996ad-c8c0-4279-84c0-115ebcf63bba" providerId="ADAL" clId="{A0172E68-F658-4CD4-85E2-7E0070037D88}" dt="2020-08-04T22:43:38.145" v="12865" actId="1076"/>
          <ac:spMkLst>
            <pc:docMk/>
            <pc:sldMk cId="687598378" sldId="1138"/>
            <ac:spMk id="16" creationId="{B2FB1AD5-DED7-4EA2-B18F-76DF2EFACB5E}"/>
          </ac:spMkLst>
        </pc:spChg>
        <pc:spChg chg="mod">
          <ac:chgData name="Laura Smith (DCP)" userId="04d996ad-c8c0-4279-84c0-115ebcf63bba" providerId="ADAL" clId="{A0172E68-F658-4CD4-85E2-7E0070037D88}" dt="2020-08-04T22:43:34.682" v="12864" actId="1076"/>
          <ac:spMkLst>
            <pc:docMk/>
            <pc:sldMk cId="687598378" sldId="1138"/>
            <ac:spMk id="18" creationId="{08A010C0-6360-4129-88AB-2D8D9D00DC5F}"/>
          </ac:spMkLst>
        </pc:spChg>
        <pc:spChg chg="add mod">
          <ac:chgData name="Laura Smith (DCP)" userId="04d996ad-c8c0-4279-84c0-115ebcf63bba" providerId="ADAL" clId="{A0172E68-F658-4CD4-85E2-7E0070037D88}" dt="2020-08-04T22:42:16.736" v="12806" actId="20577"/>
          <ac:spMkLst>
            <pc:docMk/>
            <pc:sldMk cId="687598378" sldId="1138"/>
            <ac:spMk id="20" creationId="{CB5836FA-D5B1-47D5-B48D-DC03120E8764}"/>
          </ac:spMkLst>
        </pc:spChg>
        <pc:spChg chg="add mod">
          <ac:chgData name="Laura Smith (DCP)" userId="04d996ad-c8c0-4279-84c0-115ebcf63bba" providerId="ADAL" clId="{A0172E68-F658-4CD4-85E2-7E0070037D88}" dt="2020-08-04T22:43:05.153" v="12862" actId="20577"/>
          <ac:spMkLst>
            <pc:docMk/>
            <pc:sldMk cId="687598378" sldId="1138"/>
            <ac:spMk id="21" creationId="{E3F61305-6676-4E44-B23F-30514E270F91}"/>
          </ac:spMkLst>
        </pc:spChg>
        <pc:spChg chg="add mod">
          <ac:chgData name="Laura Smith (DCP)" userId="04d996ad-c8c0-4279-84c0-115ebcf63bba" providerId="ADAL" clId="{A0172E68-F658-4CD4-85E2-7E0070037D88}" dt="2020-08-04T22:43:03.164" v="12857" actId="1076"/>
          <ac:spMkLst>
            <pc:docMk/>
            <pc:sldMk cId="687598378" sldId="1138"/>
            <ac:spMk id="23" creationId="{D359E79A-F235-4261-AAFF-2C4D67FE5DB3}"/>
          </ac:spMkLst>
        </pc:spChg>
      </pc:sldChg>
    </pc:docChg>
  </pc:docChgLst>
  <pc:docChgLst>
    <pc:chgData clId="Web-{2CB9473F-BA79-BA84-040C-EF821D28A61B}"/>
    <pc:docChg chg="addSld modSld sldOrd">
      <pc:chgData name="" userId="" providerId="" clId="Web-{2CB9473F-BA79-BA84-040C-EF821D28A61B}" dt="2020-07-20T22:32:11.596" v="187"/>
      <pc:docMkLst>
        <pc:docMk/>
      </pc:docMkLst>
      <pc:sldChg chg="addSp delSp modSp">
        <pc:chgData name="" userId="" providerId="" clId="Web-{2CB9473F-BA79-BA84-040C-EF821D28A61B}" dt="2020-07-20T22:26:50.417" v="83" actId="20577"/>
        <pc:sldMkLst>
          <pc:docMk/>
          <pc:sldMk cId="1155418492" sldId="1026"/>
        </pc:sldMkLst>
        <pc:spChg chg="del">
          <ac:chgData name="" userId="" providerId="" clId="Web-{2CB9473F-BA79-BA84-040C-EF821D28A61B}" dt="2020-07-20T22:21:33.411" v="0"/>
          <ac:spMkLst>
            <pc:docMk/>
            <pc:sldMk cId="1155418492" sldId="1026"/>
            <ac:spMk id="3" creationId="{BBA8076B-4D10-634F-972C-D2D3F837C929}"/>
          </ac:spMkLst>
        </pc:spChg>
        <pc:spChg chg="mod">
          <ac:chgData name="" userId="" providerId="" clId="Web-{2CB9473F-BA79-BA84-040C-EF821D28A61B}" dt="2020-07-20T22:26:50.417" v="83" actId="20577"/>
          <ac:spMkLst>
            <pc:docMk/>
            <pc:sldMk cId="1155418492" sldId="1026"/>
            <ac:spMk id="6" creationId="{6112D5FE-E18B-6A43-BA78-7662CB7AF3D1}"/>
          </ac:spMkLst>
        </pc:spChg>
        <pc:spChg chg="mod">
          <ac:chgData name="" userId="" providerId="" clId="Web-{2CB9473F-BA79-BA84-040C-EF821D28A61B}" dt="2020-07-20T22:22:47.494" v="10" actId="1076"/>
          <ac:spMkLst>
            <pc:docMk/>
            <pc:sldMk cId="1155418492" sldId="1026"/>
            <ac:spMk id="7" creationId="{5DD5AC5F-360F-8042-AE73-AF91185B9B19}"/>
          </ac:spMkLst>
        </pc:spChg>
        <pc:graphicFrameChg chg="del">
          <ac:chgData name="" userId="" providerId="" clId="Web-{2CB9473F-BA79-BA84-040C-EF821D28A61B}" dt="2020-07-20T22:21:36.223" v="1"/>
          <ac:graphicFrameMkLst>
            <pc:docMk/>
            <pc:sldMk cId="1155418492" sldId="1026"/>
            <ac:graphicFrameMk id="11" creationId="{68EDFA0D-7AE0-AF44-9360-4F25F694E1CE}"/>
          </ac:graphicFrameMkLst>
        </pc:graphicFrameChg>
        <pc:graphicFrameChg chg="del">
          <ac:chgData name="" userId="" providerId="" clId="Web-{2CB9473F-BA79-BA84-040C-EF821D28A61B}" dt="2020-07-20T22:22:59.432" v="11"/>
          <ac:graphicFrameMkLst>
            <pc:docMk/>
            <pc:sldMk cId="1155418492" sldId="1026"/>
            <ac:graphicFrameMk id="13" creationId="{519EE0ED-7A72-3348-8735-5519A41EDCB8}"/>
          </ac:graphicFrameMkLst>
        </pc:graphicFrameChg>
        <pc:picChg chg="add del mod">
          <ac:chgData name="" userId="" providerId="" clId="Web-{2CB9473F-BA79-BA84-040C-EF821D28A61B}" dt="2020-07-20T22:22:03.553" v="5"/>
          <ac:picMkLst>
            <pc:docMk/>
            <pc:sldMk cId="1155418492" sldId="1026"/>
            <ac:picMk id="5" creationId="{B9E4ABC9-6828-4B4B-8607-9558BDAEFD5F}"/>
          </ac:picMkLst>
        </pc:picChg>
        <pc:picChg chg="add mod ord">
          <ac:chgData name="" userId="" providerId="" clId="Web-{2CB9473F-BA79-BA84-040C-EF821D28A61B}" dt="2020-07-20T22:22:43.713" v="9"/>
          <ac:picMkLst>
            <pc:docMk/>
            <pc:sldMk cId="1155418492" sldId="1026"/>
            <ac:picMk id="8" creationId="{7517867A-91F5-4DB7-B1EF-121EDDEF9A4E}"/>
          </ac:picMkLst>
        </pc:picChg>
        <pc:picChg chg="add del mod">
          <ac:chgData name="" userId="" providerId="" clId="Web-{2CB9473F-BA79-BA84-040C-EF821D28A61B}" dt="2020-07-20T22:23:22.778" v="15"/>
          <ac:picMkLst>
            <pc:docMk/>
            <pc:sldMk cId="1155418492" sldId="1026"/>
            <ac:picMk id="9" creationId="{CC3904EB-C849-4C87-9EE2-5155EEA892EA}"/>
          </ac:picMkLst>
        </pc:picChg>
        <pc:picChg chg="add mod">
          <ac:chgData name="" userId="" providerId="" clId="Web-{2CB9473F-BA79-BA84-040C-EF821D28A61B}" dt="2020-07-20T22:25:30.256" v="43"/>
          <ac:picMkLst>
            <pc:docMk/>
            <pc:sldMk cId="1155418492" sldId="1026"/>
            <ac:picMk id="12" creationId="{2BD5E4AC-150E-4738-9D65-46BDDB237E58}"/>
          </ac:picMkLst>
        </pc:picChg>
      </pc:sldChg>
      <pc:sldChg chg="addSp delSp modSp">
        <pc:chgData name="" userId="" providerId="" clId="Web-{2CB9473F-BA79-BA84-040C-EF821D28A61B}" dt="2020-07-20T22:27:59.829" v="123" actId="20577"/>
        <pc:sldMkLst>
          <pc:docMk/>
          <pc:sldMk cId="1049441131" sldId="1040"/>
        </pc:sldMkLst>
        <pc:spChg chg="mod">
          <ac:chgData name="" userId="" providerId="" clId="Web-{2CB9473F-BA79-BA84-040C-EF821D28A61B}" dt="2020-07-20T22:27:59.829" v="123" actId="20577"/>
          <ac:spMkLst>
            <pc:docMk/>
            <pc:sldMk cId="1049441131" sldId="1040"/>
            <ac:spMk id="8" creationId="{B4306CB6-AC48-1546-B565-FD067D80C14C}"/>
          </ac:spMkLst>
        </pc:spChg>
        <pc:spChg chg="mod">
          <ac:chgData name="" userId="" providerId="" clId="Web-{2CB9473F-BA79-BA84-040C-EF821D28A61B}" dt="2020-07-20T22:24:42.580" v="31" actId="14100"/>
          <ac:spMkLst>
            <pc:docMk/>
            <pc:sldMk cId="1049441131" sldId="1040"/>
            <ac:spMk id="14" creationId="{437F0068-2F47-8346-A239-A480DB4C0B54}"/>
          </ac:spMkLst>
        </pc:spChg>
        <pc:graphicFrameChg chg="del">
          <ac:chgData name="" userId="" providerId="" clId="Web-{2CB9473F-BA79-BA84-040C-EF821D28A61B}" dt="2020-07-20T22:24:14.813" v="24"/>
          <ac:graphicFrameMkLst>
            <pc:docMk/>
            <pc:sldMk cId="1049441131" sldId="1040"/>
            <ac:graphicFrameMk id="12" creationId="{CFFA1B36-5CB1-D24F-9F81-D8B570EAAA25}"/>
          </ac:graphicFrameMkLst>
        </pc:graphicFrameChg>
        <pc:graphicFrameChg chg="del">
          <ac:chgData name="" userId="" providerId="" clId="Web-{2CB9473F-BA79-BA84-040C-EF821D28A61B}" dt="2020-07-20T22:24:45.112" v="32"/>
          <ac:graphicFrameMkLst>
            <pc:docMk/>
            <pc:sldMk cId="1049441131" sldId="1040"/>
            <ac:graphicFrameMk id="13" creationId="{C74309F3-BD2E-054F-AD89-8707F08964FA}"/>
          </ac:graphicFrameMkLst>
        </pc:graphicFrameChg>
        <pc:picChg chg="add mod ord">
          <ac:chgData name="" userId="" providerId="" clId="Web-{2CB9473F-BA79-BA84-040C-EF821D28A61B}" dt="2020-07-20T22:25:16.723" v="39"/>
          <ac:picMkLst>
            <pc:docMk/>
            <pc:sldMk cId="1049441131" sldId="1040"/>
            <ac:picMk id="3" creationId="{A8E3DD5A-B268-4874-BEB9-CD04B3F76D86}"/>
          </ac:picMkLst>
        </pc:picChg>
        <pc:picChg chg="add mod">
          <ac:chgData name="" userId="" providerId="" clId="Web-{2CB9473F-BA79-BA84-040C-EF821D28A61B}" dt="2020-07-20T22:25:04.863" v="36"/>
          <ac:picMkLst>
            <pc:docMk/>
            <pc:sldMk cId="1049441131" sldId="1040"/>
            <ac:picMk id="6" creationId="{2021897C-71A7-4C60-8C94-E8C625B77506}"/>
          </ac:picMkLst>
        </pc:picChg>
      </pc:sldChg>
      <pc:sldChg chg="ord">
        <pc:chgData name="" userId="" providerId="" clId="Web-{2CB9473F-BA79-BA84-040C-EF821D28A61B}" dt="2020-07-20T22:28:35.440" v="127"/>
        <pc:sldMkLst>
          <pc:docMk/>
          <pc:sldMk cId="2535481493" sldId="1116"/>
        </pc:sldMkLst>
      </pc:sldChg>
      <pc:sldChg chg="add replId">
        <pc:chgData name="" userId="" providerId="" clId="Web-{2CB9473F-BA79-BA84-040C-EF821D28A61B}" dt="2020-07-20T22:28:29.299" v="125"/>
        <pc:sldMkLst>
          <pc:docMk/>
          <pc:sldMk cId="423080654" sldId="1117"/>
        </pc:sldMkLst>
      </pc:sldChg>
      <pc:sldChg chg="addSp delSp modSp add replId">
        <pc:chgData name="" userId="" providerId="" clId="Web-{2CB9473F-BA79-BA84-040C-EF821D28A61B}" dt="2020-07-20T22:32:11.596" v="187"/>
        <pc:sldMkLst>
          <pc:docMk/>
          <pc:sldMk cId="1462918329" sldId="1118"/>
        </pc:sldMkLst>
        <pc:spChg chg="mod">
          <ac:chgData name="" userId="" providerId="" clId="Web-{2CB9473F-BA79-BA84-040C-EF821D28A61B}" dt="2020-07-20T22:29:24.803" v="166" actId="20577"/>
          <ac:spMkLst>
            <pc:docMk/>
            <pc:sldMk cId="1462918329" sldId="1118"/>
            <ac:spMk id="2" creationId="{AFF6A9B6-BBBB-4C91-BB36-53BD5FAB6C0D}"/>
          </ac:spMkLst>
        </pc:spChg>
        <pc:spChg chg="mod">
          <ac:chgData name="" userId="" providerId="" clId="Web-{2CB9473F-BA79-BA84-040C-EF821D28A61B}" dt="2020-07-20T22:31:42.547" v="181" actId="14100"/>
          <ac:spMkLst>
            <pc:docMk/>
            <pc:sldMk cId="1462918329" sldId="1118"/>
            <ac:spMk id="7" creationId="{5DD5AC5F-360F-8042-AE73-AF91185B9B19}"/>
          </ac:spMkLst>
        </pc:spChg>
        <pc:picChg chg="add mod ord">
          <ac:chgData name="" userId="" providerId="" clId="Web-{2CB9473F-BA79-BA84-040C-EF821D28A61B}" dt="2020-07-20T22:31:11.795" v="175"/>
          <ac:picMkLst>
            <pc:docMk/>
            <pc:sldMk cId="1462918329" sldId="1118"/>
            <ac:picMk id="3" creationId="{9B59E9CE-BB0B-453C-B6A2-F3D429D73823}"/>
          </ac:picMkLst>
        </pc:picChg>
        <pc:picChg chg="add mod">
          <ac:chgData name="" userId="" providerId="" clId="Web-{2CB9473F-BA79-BA84-040C-EF821D28A61B}" dt="2020-07-20T22:32:11.596" v="187"/>
          <ac:picMkLst>
            <pc:docMk/>
            <pc:sldMk cId="1462918329" sldId="1118"/>
            <ac:picMk id="5" creationId="{5C1F5393-4FFA-447F-AE8F-D1B7DAD49F20}"/>
          </ac:picMkLst>
        </pc:picChg>
        <pc:picChg chg="del">
          <ac:chgData name="" userId="" providerId="" clId="Web-{2CB9473F-BA79-BA84-040C-EF821D28A61B}" dt="2020-07-20T22:30:12.838" v="170"/>
          <ac:picMkLst>
            <pc:docMk/>
            <pc:sldMk cId="1462918329" sldId="1118"/>
            <ac:picMk id="8" creationId="{7517867A-91F5-4DB7-B1EF-121EDDEF9A4E}"/>
          </ac:picMkLst>
        </pc:picChg>
        <pc:picChg chg="del">
          <ac:chgData name="" userId="" providerId="" clId="Web-{2CB9473F-BA79-BA84-040C-EF821D28A61B}" dt="2020-07-20T22:31:29.765" v="179"/>
          <ac:picMkLst>
            <pc:docMk/>
            <pc:sldMk cId="1462918329" sldId="1118"/>
            <ac:picMk id="12" creationId="{2BD5E4AC-150E-4738-9D65-46BDDB237E58}"/>
          </ac:picMkLst>
        </pc:picChg>
      </pc:sldChg>
      <pc:sldChg chg="add replId">
        <pc:chgData name="" userId="" providerId="" clId="Web-{2CB9473F-BA79-BA84-040C-EF821D28A61B}" dt="2020-07-20T22:29:28.710" v="169"/>
        <pc:sldMkLst>
          <pc:docMk/>
          <pc:sldMk cId="2318289709" sldId="1119"/>
        </pc:sldMkLst>
      </pc:sldChg>
    </pc:docChg>
  </pc:docChgLst>
  <pc:docChgLst>
    <pc:chgData clId="Web-{D1D9B049-61BB-E083-65DA-CCE9C4BA1EF9}"/>
    <pc:docChg chg="modSld">
      <pc:chgData name="" userId="" providerId="" clId="Web-{D1D9B049-61BB-E083-65DA-CCE9C4BA1EF9}" dt="2020-07-21T21:36:18.389" v="60" actId="20577"/>
      <pc:docMkLst>
        <pc:docMk/>
      </pc:docMkLst>
    </pc:docChg>
  </pc:docChgLst>
  <pc:docChgLst>
    <pc:chgData clId="Web-{09666F4A-C23F-8FB2-5F39-5A6944D1C7DD}"/>
    <pc:docChg chg="modSld">
      <pc:chgData name="" userId="" providerId="" clId="Web-{09666F4A-C23F-8FB2-5F39-5A6944D1C7DD}" dt="2020-08-04T21:32:43.808" v="0" actId="1076"/>
      <pc:docMkLst>
        <pc:docMk/>
      </pc:docMkLst>
      <pc:sldChg chg="modSp">
        <pc:chgData name="" userId="" providerId="" clId="Web-{09666F4A-C23F-8FB2-5F39-5A6944D1C7DD}" dt="2020-08-04T21:32:43.808" v="0" actId="1076"/>
        <pc:sldMkLst>
          <pc:docMk/>
          <pc:sldMk cId="423080654" sldId="1117"/>
        </pc:sldMkLst>
        <pc:graphicFrameChg chg="mod">
          <ac:chgData name="" userId="" providerId="" clId="Web-{09666F4A-C23F-8FB2-5F39-5A6944D1C7DD}" dt="2020-08-04T21:32:43.808" v="0" actId="1076"/>
          <ac:graphicFrameMkLst>
            <pc:docMk/>
            <pc:sldMk cId="423080654" sldId="1117"/>
            <ac:graphicFrameMk id="10" creationId="{CF9C6408-D442-3F4B-BC9E-BBA8FF4D2B0C}"/>
          </ac:graphicFrameMkLst>
        </pc:graphicFrameChg>
      </pc:sldChg>
    </pc:docChg>
  </pc:docChgLst>
  <pc:docChgLst>
    <pc:chgData name="Stephane Pierre (DCP)" userId="dc8579c3-b9ad-4a00-a438-b4c77f165554" providerId="ADAL" clId="{EC276C4E-EFB5-7941-9A78-4056BD22D3D9}"/>
    <pc:docChg chg="undo custSel modSld">
      <pc:chgData name="Stephane Pierre (DCP)" userId="dc8579c3-b9ad-4a00-a438-b4c77f165554" providerId="ADAL" clId="{EC276C4E-EFB5-7941-9A78-4056BD22D3D9}" dt="2020-08-11T18:10:57.349" v="648" actId="13926"/>
      <pc:docMkLst>
        <pc:docMk/>
      </pc:docMkLst>
      <pc:sldChg chg="addSp delSp modSp mod">
        <pc:chgData name="Stephane Pierre (DCP)" userId="dc8579c3-b9ad-4a00-a438-b4c77f165554" providerId="ADAL" clId="{EC276C4E-EFB5-7941-9A78-4056BD22D3D9}" dt="2020-08-11T18:10:57.349" v="648" actId="13926"/>
        <pc:sldMkLst>
          <pc:docMk/>
          <pc:sldMk cId="1519931681" sldId="923"/>
        </pc:sldMkLst>
        <pc:spChg chg="mod">
          <ac:chgData name="Stephane Pierre (DCP)" userId="dc8579c3-b9ad-4a00-a438-b4c77f165554" providerId="ADAL" clId="{EC276C4E-EFB5-7941-9A78-4056BD22D3D9}" dt="2020-08-11T17:50:57.155" v="408" actId="1076"/>
          <ac:spMkLst>
            <pc:docMk/>
            <pc:sldMk cId="1519931681" sldId="923"/>
            <ac:spMk id="3" creationId="{1EAE4D21-EE8B-B54C-98EF-002EA66A340A}"/>
          </ac:spMkLst>
        </pc:spChg>
        <pc:spChg chg="add mod">
          <ac:chgData name="Stephane Pierre (DCP)" userId="dc8579c3-b9ad-4a00-a438-b4c77f165554" providerId="ADAL" clId="{EC276C4E-EFB5-7941-9A78-4056BD22D3D9}" dt="2020-08-11T18:10:57.349" v="648" actId="13926"/>
          <ac:spMkLst>
            <pc:docMk/>
            <pc:sldMk cId="1519931681" sldId="923"/>
            <ac:spMk id="5" creationId="{02C186E5-4C2D-3948-95DD-9C300517C334}"/>
          </ac:spMkLst>
        </pc:spChg>
        <pc:spChg chg="mod">
          <ac:chgData name="Stephane Pierre (DCP)" userId="dc8579c3-b9ad-4a00-a438-b4c77f165554" providerId="ADAL" clId="{EC276C4E-EFB5-7941-9A78-4056BD22D3D9}" dt="2020-08-11T17:51:34.505" v="412" actId="1076"/>
          <ac:spMkLst>
            <pc:docMk/>
            <pc:sldMk cId="1519931681" sldId="923"/>
            <ac:spMk id="13" creationId="{174F846C-5F73-894A-A1AF-0A935B8139E2}"/>
          </ac:spMkLst>
        </pc:spChg>
        <pc:spChg chg="mod">
          <ac:chgData name="Stephane Pierre (DCP)" userId="dc8579c3-b9ad-4a00-a438-b4c77f165554" providerId="ADAL" clId="{EC276C4E-EFB5-7941-9A78-4056BD22D3D9}" dt="2020-08-11T17:50:54.770" v="407" actId="1076"/>
          <ac:spMkLst>
            <pc:docMk/>
            <pc:sldMk cId="1519931681" sldId="923"/>
            <ac:spMk id="14" creationId="{149DA6FF-5364-1E48-893B-A163FFAF975B}"/>
          </ac:spMkLst>
        </pc:spChg>
        <pc:spChg chg="mod">
          <ac:chgData name="Stephane Pierre (DCP)" userId="dc8579c3-b9ad-4a00-a438-b4c77f165554" providerId="ADAL" clId="{EC276C4E-EFB5-7941-9A78-4056BD22D3D9}" dt="2020-08-11T17:50:47.954" v="404" actId="1076"/>
          <ac:spMkLst>
            <pc:docMk/>
            <pc:sldMk cId="1519931681" sldId="923"/>
            <ac:spMk id="15" creationId="{981C1DE0-82FF-AB4F-B94E-89088541BAE7}"/>
          </ac:spMkLst>
        </pc:spChg>
        <pc:spChg chg="mod">
          <ac:chgData name="Stephane Pierre (DCP)" userId="dc8579c3-b9ad-4a00-a438-b4c77f165554" providerId="ADAL" clId="{EC276C4E-EFB5-7941-9A78-4056BD22D3D9}" dt="2020-08-11T18:03:33.945" v="639" actId="20577"/>
          <ac:spMkLst>
            <pc:docMk/>
            <pc:sldMk cId="1519931681" sldId="923"/>
            <ac:spMk id="25" creationId="{13B87C1F-74FA-7648-A5E7-2CB01BB275C1}"/>
          </ac:spMkLst>
        </pc:spChg>
        <pc:graphicFrameChg chg="add mod">
          <ac:chgData name="Stephane Pierre (DCP)" userId="dc8579c3-b9ad-4a00-a438-b4c77f165554" providerId="ADAL" clId="{EC276C4E-EFB5-7941-9A78-4056BD22D3D9}" dt="2020-08-11T17:25:26.633" v="400" actId="14100"/>
          <ac:graphicFrameMkLst>
            <pc:docMk/>
            <pc:sldMk cId="1519931681" sldId="923"/>
            <ac:graphicFrameMk id="16" creationId="{A02ADCAF-7863-324A-9F02-208B1F40E7D2}"/>
          </ac:graphicFrameMkLst>
        </pc:graphicFrameChg>
        <pc:graphicFrameChg chg="add mod">
          <ac:chgData name="Stephane Pierre (DCP)" userId="dc8579c3-b9ad-4a00-a438-b4c77f165554" providerId="ADAL" clId="{EC276C4E-EFB5-7941-9A78-4056BD22D3D9}" dt="2020-08-11T18:02:34.737" v="595"/>
          <ac:graphicFrameMkLst>
            <pc:docMk/>
            <pc:sldMk cId="1519931681" sldId="923"/>
            <ac:graphicFrameMk id="17" creationId="{1CC46FE6-FAD9-9342-A3CD-D968E9257405}"/>
          </ac:graphicFrameMkLst>
        </pc:graphicFrameChg>
        <pc:graphicFrameChg chg="del mod">
          <ac:chgData name="Stephane Pierre (DCP)" userId="dc8579c3-b9ad-4a00-a438-b4c77f165554" providerId="ADAL" clId="{EC276C4E-EFB5-7941-9A78-4056BD22D3D9}" dt="2020-08-11T17:14:49.668" v="118" actId="478"/>
          <ac:graphicFrameMkLst>
            <pc:docMk/>
            <pc:sldMk cId="1519931681" sldId="923"/>
            <ac:graphicFrameMk id="18" creationId="{1CC46FE6-FAD9-9342-A3CD-D968E9257405}"/>
          </ac:graphicFrameMkLst>
        </pc:graphicFrameChg>
        <pc:graphicFrameChg chg="add mod">
          <ac:chgData name="Stephane Pierre (DCP)" userId="dc8579c3-b9ad-4a00-a438-b4c77f165554" providerId="ADAL" clId="{EC276C4E-EFB5-7941-9A78-4056BD22D3D9}" dt="2020-08-11T17:50:50.294" v="405"/>
          <ac:graphicFrameMkLst>
            <pc:docMk/>
            <pc:sldMk cId="1519931681" sldId="923"/>
            <ac:graphicFrameMk id="19" creationId="{7FEB981F-7F6D-0143-B619-9F89EDBCCB98}"/>
          </ac:graphicFrameMkLst>
        </pc:graphicFrameChg>
        <pc:graphicFrameChg chg="del mod">
          <ac:chgData name="Stephane Pierre (DCP)" userId="dc8579c3-b9ad-4a00-a438-b4c77f165554" providerId="ADAL" clId="{EC276C4E-EFB5-7941-9A78-4056BD22D3D9}" dt="2020-08-10T19:18:16.792" v="14" actId="478"/>
          <ac:graphicFrameMkLst>
            <pc:docMk/>
            <pc:sldMk cId="1519931681" sldId="923"/>
            <ac:graphicFrameMk id="19" creationId="{A02ADCAF-7863-324A-9F02-208B1F40E7D2}"/>
          </ac:graphicFrameMkLst>
        </pc:graphicFrameChg>
        <pc:graphicFrameChg chg="del mod">
          <ac:chgData name="Stephane Pierre (DCP)" userId="dc8579c3-b9ad-4a00-a438-b4c77f165554" providerId="ADAL" clId="{EC276C4E-EFB5-7941-9A78-4056BD22D3D9}" dt="2020-08-11T17:19:50.442" v="138" actId="478"/>
          <ac:graphicFrameMkLst>
            <pc:docMk/>
            <pc:sldMk cId="1519931681" sldId="923"/>
            <ac:graphicFrameMk id="20" creationId="{D3DAB570-D2CD-544C-A4A8-FB4FEDBB4B58}"/>
          </ac:graphicFrameMkLst>
        </pc:graphicFrameChg>
      </pc:sldChg>
    </pc:docChg>
  </pc:docChgLst>
  <pc:docChgLst>
    <pc:chgData clId="Web-{BD111989-9A93-7D9C-C1E3-8F9BF277F8A3}"/>
    <pc:docChg chg="modSld">
      <pc:chgData name="" userId="" providerId="" clId="Web-{BD111989-9A93-7D9C-C1E3-8F9BF277F8A3}" dt="2020-08-04T04:32:07.341" v="2"/>
      <pc:docMkLst>
        <pc:docMk/>
      </pc:docMkLst>
    </pc:docChg>
  </pc:docChgLst>
  <pc:docChgLst>
    <pc:chgData clId="Web-{A81F592D-403F-C684-4249-E54A843F00E0}"/>
    <pc:docChg chg="addSld modSld sldOrd">
      <pc:chgData name="" userId="" providerId="" clId="Web-{A81F592D-403F-C684-4249-E54A843F00E0}" dt="2020-07-07T15:23:35.699" v="8"/>
      <pc:docMkLst>
        <pc:docMk/>
      </pc:docMkLst>
      <pc:sldChg chg="addSp delSp modSp">
        <pc:chgData name="" userId="" providerId="" clId="Web-{A81F592D-403F-C684-4249-E54A843F00E0}" dt="2020-07-07T15:23:35.699" v="8"/>
        <pc:sldMkLst>
          <pc:docMk/>
          <pc:sldMk cId="2415737977" sldId="1063"/>
        </pc:sldMkLst>
        <pc:spChg chg="add del mod">
          <ac:chgData name="" userId="" providerId="" clId="Web-{A81F592D-403F-C684-4249-E54A843F00E0}" dt="2020-07-07T15:23:35.699" v="8"/>
          <ac:spMkLst>
            <pc:docMk/>
            <pc:sldMk cId="2415737977" sldId="1063"/>
            <ac:spMk id="14" creationId="{06014921-9A2D-4A4E-B835-18F84B32D206}"/>
          </ac:spMkLst>
        </pc:spChg>
      </pc:sldChg>
    </pc:docChg>
  </pc:docChgLst>
  <pc:docChgLst>
    <pc:chgData name="Ruoran Lin (DCP)" userId="5ba63a2c-b5bc-4f17-a87a-a3a824a8af35" providerId="ADAL" clId="{E871D0C7-D47A-2640-813B-53F72DCEA1B5}"/>
    <pc:docChg chg="custSel addSld modSld">
      <pc:chgData name="Ruoran Lin (DCP)" userId="5ba63a2c-b5bc-4f17-a87a-a3a824a8af35" providerId="ADAL" clId="{E871D0C7-D47A-2640-813B-53F72DCEA1B5}" dt="2020-08-11T17:00:40.412" v="530" actId="20577"/>
      <pc:docMkLst>
        <pc:docMk/>
      </pc:docMkLst>
      <pc:sldChg chg="addSp delSp modSp mod">
        <pc:chgData name="Ruoran Lin (DCP)" userId="5ba63a2c-b5bc-4f17-a87a-a3a824a8af35" providerId="ADAL" clId="{E871D0C7-D47A-2640-813B-53F72DCEA1B5}" dt="2020-08-10T19:12:35.262" v="304" actId="20577"/>
        <pc:sldMkLst>
          <pc:docMk/>
          <pc:sldMk cId="1155418492" sldId="1026"/>
        </pc:sldMkLst>
        <pc:spChg chg="mod">
          <ac:chgData name="Ruoran Lin (DCP)" userId="5ba63a2c-b5bc-4f17-a87a-a3a824a8af35" providerId="ADAL" clId="{E871D0C7-D47A-2640-813B-53F72DCEA1B5}" dt="2020-08-10T19:12:35.262" v="304" actId="20577"/>
          <ac:spMkLst>
            <pc:docMk/>
            <pc:sldMk cId="1155418492" sldId="1026"/>
            <ac:spMk id="6" creationId="{6112D5FE-E18B-6A43-BA78-7662CB7AF3D1}"/>
          </ac:spMkLst>
        </pc:spChg>
        <pc:spChg chg="mod">
          <ac:chgData name="Ruoran Lin (DCP)" userId="5ba63a2c-b5bc-4f17-a87a-a3a824a8af35" providerId="ADAL" clId="{E871D0C7-D47A-2640-813B-53F72DCEA1B5}" dt="2020-08-10T18:51:01.812" v="42" actId="14100"/>
          <ac:spMkLst>
            <pc:docMk/>
            <pc:sldMk cId="1155418492" sldId="1026"/>
            <ac:spMk id="7" creationId="{5DD5AC5F-360F-8042-AE73-AF91185B9B19}"/>
          </ac:spMkLst>
        </pc:spChg>
        <pc:spChg chg="del">
          <ac:chgData name="Ruoran Lin (DCP)" userId="5ba63a2c-b5bc-4f17-a87a-a3a824a8af35" providerId="ADAL" clId="{E871D0C7-D47A-2640-813B-53F72DCEA1B5}" dt="2020-08-10T18:52:47.275" v="43" actId="478"/>
          <ac:spMkLst>
            <pc:docMk/>
            <pc:sldMk cId="1155418492" sldId="1026"/>
            <ac:spMk id="14" creationId="{BF7984C3-BBA4-4A3B-A3F4-ECF402FF380E}"/>
          </ac:spMkLst>
        </pc:spChg>
        <pc:graphicFrameChg chg="del">
          <ac:chgData name="Ruoran Lin (DCP)" userId="5ba63a2c-b5bc-4f17-a87a-a3a824a8af35" providerId="ADAL" clId="{E871D0C7-D47A-2640-813B-53F72DCEA1B5}" dt="2020-08-10T18:46:59.460" v="0" actId="478"/>
          <ac:graphicFrameMkLst>
            <pc:docMk/>
            <pc:sldMk cId="1155418492" sldId="1026"/>
            <ac:graphicFrameMk id="11" creationId="{68EDFA0D-7AE0-AF44-9360-4F25F694E1CE}"/>
          </ac:graphicFrameMkLst>
        </pc:graphicFrameChg>
        <pc:graphicFrameChg chg="del">
          <ac:chgData name="Ruoran Lin (DCP)" userId="5ba63a2c-b5bc-4f17-a87a-a3a824a8af35" providerId="ADAL" clId="{E871D0C7-D47A-2640-813B-53F72DCEA1B5}" dt="2020-08-10T18:52:49.389" v="44" actId="478"/>
          <ac:graphicFrameMkLst>
            <pc:docMk/>
            <pc:sldMk cId="1155418492" sldId="1026"/>
            <ac:graphicFrameMk id="12" creationId="{519EE0ED-7A72-3348-8735-5519A41EDCB8}"/>
          </ac:graphicFrameMkLst>
        </pc:graphicFrameChg>
        <pc:graphicFrameChg chg="add mod">
          <ac:chgData name="Ruoran Lin (DCP)" userId="5ba63a2c-b5bc-4f17-a87a-a3a824a8af35" providerId="ADAL" clId="{E871D0C7-D47A-2640-813B-53F72DCEA1B5}" dt="2020-08-10T18:49:26.875" v="8" actId="167"/>
          <ac:graphicFrameMkLst>
            <pc:docMk/>
            <pc:sldMk cId="1155418492" sldId="1026"/>
            <ac:graphicFrameMk id="13" creationId="{68EDFA0D-7AE0-AF44-9360-4F25F694E1CE}"/>
          </ac:graphicFrameMkLst>
        </pc:graphicFrameChg>
        <pc:graphicFrameChg chg="add mod">
          <ac:chgData name="Ruoran Lin (DCP)" userId="5ba63a2c-b5bc-4f17-a87a-a3a824a8af35" providerId="ADAL" clId="{E871D0C7-D47A-2640-813B-53F72DCEA1B5}" dt="2020-08-10T18:54:01.870" v="53" actId="1582"/>
          <ac:graphicFrameMkLst>
            <pc:docMk/>
            <pc:sldMk cId="1155418492" sldId="1026"/>
            <ac:graphicFrameMk id="15" creationId="{519EE0ED-7A72-3348-8735-5519A41EDCB8}"/>
          </ac:graphicFrameMkLst>
        </pc:graphicFrameChg>
      </pc:sldChg>
      <pc:sldChg chg="addSp delSp modSp mod">
        <pc:chgData name="Ruoran Lin (DCP)" userId="5ba63a2c-b5bc-4f17-a87a-a3a824a8af35" providerId="ADAL" clId="{E871D0C7-D47A-2640-813B-53F72DCEA1B5}" dt="2020-08-10T19:13:22.886" v="337" actId="20577"/>
        <pc:sldMkLst>
          <pc:docMk/>
          <pc:sldMk cId="1049441131" sldId="1040"/>
        </pc:sldMkLst>
        <pc:spChg chg="mod">
          <ac:chgData name="Ruoran Lin (DCP)" userId="5ba63a2c-b5bc-4f17-a87a-a3a824a8af35" providerId="ADAL" clId="{E871D0C7-D47A-2640-813B-53F72DCEA1B5}" dt="2020-08-10T19:13:22.886" v="337" actId="20577"/>
          <ac:spMkLst>
            <pc:docMk/>
            <pc:sldMk cId="1049441131" sldId="1040"/>
            <ac:spMk id="8" creationId="{B4306CB6-AC48-1546-B565-FD067D80C14C}"/>
          </ac:spMkLst>
        </pc:spChg>
        <pc:spChg chg="mod">
          <ac:chgData name="Ruoran Lin (DCP)" userId="5ba63a2c-b5bc-4f17-a87a-a3a824a8af35" providerId="ADAL" clId="{E871D0C7-D47A-2640-813B-53F72DCEA1B5}" dt="2020-08-10T18:55:21.508" v="86" actId="14100"/>
          <ac:spMkLst>
            <pc:docMk/>
            <pc:sldMk cId="1049441131" sldId="1040"/>
            <ac:spMk id="14" creationId="{437F0068-2F47-8346-A239-A480DB4C0B54}"/>
          </ac:spMkLst>
        </pc:spChg>
        <pc:spChg chg="del">
          <ac:chgData name="Ruoran Lin (DCP)" userId="5ba63a2c-b5bc-4f17-a87a-a3a824a8af35" providerId="ADAL" clId="{E871D0C7-D47A-2640-813B-53F72DCEA1B5}" dt="2020-08-10T18:54:52.564" v="61" actId="478"/>
          <ac:spMkLst>
            <pc:docMk/>
            <pc:sldMk cId="1049441131" sldId="1040"/>
            <ac:spMk id="15" creationId="{D4AB5202-38B5-41F2-926F-7DECFA30B25F}"/>
          </ac:spMkLst>
        </pc:spChg>
        <pc:graphicFrameChg chg="del">
          <ac:chgData name="Ruoran Lin (DCP)" userId="5ba63a2c-b5bc-4f17-a87a-a3a824a8af35" providerId="ADAL" clId="{E871D0C7-D47A-2640-813B-53F72DCEA1B5}" dt="2020-08-10T18:54:10.623" v="54" actId="478"/>
          <ac:graphicFrameMkLst>
            <pc:docMk/>
            <pc:sldMk cId="1049441131" sldId="1040"/>
            <ac:graphicFrameMk id="10" creationId="{CFFA1B36-5CB1-D24F-9F81-D8B570EAAA25}"/>
          </ac:graphicFrameMkLst>
        </pc:graphicFrameChg>
        <pc:graphicFrameChg chg="del">
          <ac:chgData name="Ruoran Lin (DCP)" userId="5ba63a2c-b5bc-4f17-a87a-a3a824a8af35" providerId="ADAL" clId="{E871D0C7-D47A-2640-813B-53F72DCEA1B5}" dt="2020-08-10T18:54:56.633" v="62" actId="478"/>
          <ac:graphicFrameMkLst>
            <pc:docMk/>
            <pc:sldMk cId="1049441131" sldId="1040"/>
            <ac:graphicFrameMk id="11" creationId="{C74309F3-BD2E-054F-AD89-8707F08964FA}"/>
          </ac:graphicFrameMkLst>
        </pc:graphicFrameChg>
        <pc:graphicFrameChg chg="add mod">
          <ac:chgData name="Ruoran Lin (DCP)" userId="5ba63a2c-b5bc-4f17-a87a-a3a824a8af35" providerId="ADAL" clId="{E871D0C7-D47A-2640-813B-53F72DCEA1B5}" dt="2020-08-10T18:55:08.870" v="63" actId="167"/>
          <ac:graphicFrameMkLst>
            <pc:docMk/>
            <pc:sldMk cId="1049441131" sldId="1040"/>
            <ac:graphicFrameMk id="12" creationId="{CFFA1B36-5CB1-D24F-9F81-D8B570EAAA25}"/>
          </ac:graphicFrameMkLst>
        </pc:graphicFrameChg>
        <pc:graphicFrameChg chg="add mod">
          <ac:chgData name="Ruoran Lin (DCP)" userId="5ba63a2c-b5bc-4f17-a87a-a3a824a8af35" providerId="ADAL" clId="{E871D0C7-D47A-2640-813B-53F72DCEA1B5}" dt="2020-08-10T18:56:37.278" v="99" actId="1036"/>
          <ac:graphicFrameMkLst>
            <pc:docMk/>
            <pc:sldMk cId="1049441131" sldId="1040"/>
            <ac:graphicFrameMk id="13" creationId="{C74309F3-BD2E-054F-AD89-8707F08964FA}"/>
          </ac:graphicFrameMkLst>
        </pc:graphicFrameChg>
      </pc:sldChg>
      <pc:sldChg chg="addSp delSp modSp add mod">
        <pc:chgData name="Ruoran Lin (DCP)" userId="5ba63a2c-b5bc-4f17-a87a-a3a824a8af35" providerId="ADAL" clId="{E871D0C7-D47A-2640-813B-53F72DCEA1B5}" dt="2020-08-11T17:00:40.412" v="530" actId="20577"/>
        <pc:sldMkLst>
          <pc:docMk/>
          <pc:sldMk cId="1441894585" sldId="1042"/>
        </pc:sldMkLst>
        <pc:spChg chg="mod">
          <ac:chgData name="Ruoran Lin (DCP)" userId="5ba63a2c-b5bc-4f17-a87a-a3a824a8af35" providerId="ADAL" clId="{E871D0C7-D47A-2640-813B-53F72DCEA1B5}" dt="2020-08-11T17:00:40.412" v="530" actId="20577"/>
          <ac:spMkLst>
            <pc:docMk/>
            <pc:sldMk cId="1441894585" sldId="1042"/>
            <ac:spMk id="17" creationId="{8765D0E4-9071-0F41-8468-F8D496E923F2}"/>
          </ac:spMkLst>
        </pc:spChg>
        <pc:graphicFrameChg chg="add mod">
          <ac:chgData name="Ruoran Lin (DCP)" userId="5ba63a2c-b5bc-4f17-a87a-a3a824a8af35" providerId="ADAL" clId="{E871D0C7-D47A-2640-813B-53F72DCEA1B5}" dt="2020-08-11T17:00:17.022" v="522" actId="404"/>
          <ac:graphicFrameMkLst>
            <pc:docMk/>
            <pc:sldMk cId="1441894585" sldId="1042"/>
            <ac:graphicFrameMk id="9" creationId="{ED4812D8-4176-8242-BCD9-387C96DCB5AC}"/>
          </ac:graphicFrameMkLst>
        </pc:graphicFrameChg>
        <pc:graphicFrameChg chg="del">
          <ac:chgData name="Ruoran Lin (DCP)" userId="5ba63a2c-b5bc-4f17-a87a-a3a824a8af35" providerId="ADAL" clId="{E871D0C7-D47A-2640-813B-53F72DCEA1B5}" dt="2020-08-11T16:59:40.067" v="516" actId="478"/>
          <ac:graphicFrameMkLst>
            <pc:docMk/>
            <pc:sldMk cId="1441894585" sldId="1042"/>
            <ac:graphicFrameMk id="10" creationId="{DC116677-9965-8342-82F6-3CDA66D414DF}"/>
          </ac:graphicFrameMkLst>
        </pc:graphicFrameChg>
      </pc:sldChg>
      <pc:sldChg chg="addSp delSp modSp mod">
        <pc:chgData name="Ruoran Lin (DCP)" userId="5ba63a2c-b5bc-4f17-a87a-a3a824a8af35" providerId="ADAL" clId="{E871D0C7-D47A-2640-813B-53F72DCEA1B5}" dt="2020-08-10T19:24:02.435" v="514" actId="20577"/>
        <pc:sldMkLst>
          <pc:docMk/>
          <pc:sldMk cId="2855638099" sldId="1089"/>
        </pc:sldMkLst>
        <pc:spChg chg="mod">
          <ac:chgData name="Ruoran Lin (DCP)" userId="5ba63a2c-b5bc-4f17-a87a-a3a824a8af35" providerId="ADAL" clId="{E871D0C7-D47A-2640-813B-53F72DCEA1B5}" dt="2020-08-10T19:24:02.435" v="514" actId="20577"/>
          <ac:spMkLst>
            <pc:docMk/>
            <pc:sldMk cId="2855638099" sldId="1089"/>
            <ac:spMk id="8" creationId="{B4306CB6-AC48-1546-B565-FD067D80C14C}"/>
          </ac:spMkLst>
        </pc:spChg>
        <pc:spChg chg="del">
          <ac:chgData name="Ruoran Lin (DCP)" userId="5ba63a2c-b5bc-4f17-a87a-a3a824a8af35" providerId="ADAL" clId="{E871D0C7-D47A-2640-813B-53F72DCEA1B5}" dt="2020-08-10T19:05:31.205" v="237" actId="478"/>
          <ac:spMkLst>
            <pc:docMk/>
            <pc:sldMk cId="2855638099" sldId="1089"/>
            <ac:spMk id="14" creationId="{437F0068-2F47-8346-A239-A480DB4C0B54}"/>
          </ac:spMkLst>
        </pc:spChg>
        <pc:spChg chg="mod">
          <ac:chgData name="Ruoran Lin (DCP)" userId="5ba63a2c-b5bc-4f17-a87a-a3a824a8af35" providerId="ADAL" clId="{E871D0C7-D47A-2640-813B-53F72DCEA1B5}" dt="2020-08-10T19:05:28.269" v="235" actId="14100"/>
          <ac:spMkLst>
            <pc:docMk/>
            <pc:sldMk cId="2855638099" sldId="1089"/>
            <ac:spMk id="17" creationId="{CBDAAC02-6733-4FF8-BB19-48AFADD61E91}"/>
          </ac:spMkLst>
        </pc:spChg>
        <pc:graphicFrameChg chg="del">
          <ac:chgData name="Ruoran Lin (DCP)" userId="5ba63a2c-b5bc-4f17-a87a-a3a824a8af35" providerId="ADAL" clId="{E871D0C7-D47A-2640-813B-53F72DCEA1B5}" dt="2020-08-10T19:03:56.325" v="226" actId="478"/>
          <ac:graphicFrameMkLst>
            <pc:docMk/>
            <pc:sldMk cId="2855638099" sldId="1089"/>
            <ac:graphicFrameMk id="12" creationId="{FDFB51FB-6C34-BA4D-966D-38B3F4DE955A}"/>
          </ac:graphicFrameMkLst>
        </pc:graphicFrameChg>
        <pc:graphicFrameChg chg="del">
          <ac:chgData name="Ruoran Lin (DCP)" userId="5ba63a2c-b5bc-4f17-a87a-a3a824a8af35" providerId="ADAL" clId="{E871D0C7-D47A-2640-813B-53F72DCEA1B5}" dt="2020-08-10T19:05:30.033" v="236" actId="478"/>
          <ac:graphicFrameMkLst>
            <pc:docMk/>
            <pc:sldMk cId="2855638099" sldId="1089"/>
            <ac:graphicFrameMk id="13" creationId="{3493FB8C-B80D-B544-A011-D64761D96A7B}"/>
          </ac:graphicFrameMkLst>
        </pc:graphicFrameChg>
        <pc:graphicFrameChg chg="add mod">
          <ac:chgData name="Ruoran Lin (DCP)" userId="5ba63a2c-b5bc-4f17-a87a-a3a824a8af35" providerId="ADAL" clId="{E871D0C7-D47A-2640-813B-53F72DCEA1B5}" dt="2020-08-10T19:05:17.781" v="234" actId="167"/>
          <ac:graphicFrameMkLst>
            <pc:docMk/>
            <pc:sldMk cId="2855638099" sldId="1089"/>
            <ac:graphicFrameMk id="15" creationId="{FDFB51FB-6C34-BA4D-966D-38B3F4DE955A}"/>
          </ac:graphicFrameMkLst>
        </pc:graphicFrameChg>
        <pc:graphicFrameChg chg="add mod">
          <ac:chgData name="Ruoran Lin (DCP)" userId="5ba63a2c-b5bc-4f17-a87a-a3a824a8af35" providerId="ADAL" clId="{E871D0C7-D47A-2640-813B-53F72DCEA1B5}" dt="2020-08-10T19:06:19.183" v="244"/>
          <ac:graphicFrameMkLst>
            <pc:docMk/>
            <pc:sldMk cId="2855638099" sldId="1089"/>
            <ac:graphicFrameMk id="16" creationId="{3493FB8C-B80D-B544-A011-D64761D96A7B}"/>
          </ac:graphicFrameMkLst>
        </pc:graphicFrameChg>
      </pc:sldChg>
      <pc:sldChg chg="addSp delSp modSp mod">
        <pc:chgData name="Ruoran Lin (DCP)" userId="5ba63a2c-b5bc-4f17-a87a-a3a824a8af35" providerId="ADAL" clId="{E871D0C7-D47A-2640-813B-53F72DCEA1B5}" dt="2020-08-10T19:11:19.693" v="260" actId="14100"/>
        <pc:sldMkLst>
          <pc:docMk/>
          <pc:sldMk cId="2535481493" sldId="1116"/>
        </pc:sldMkLst>
        <pc:graphicFrameChg chg="add mod">
          <ac:chgData name="Ruoran Lin (DCP)" userId="5ba63a2c-b5bc-4f17-a87a-a3a824a8af35" providerId="ADAL" clId="{E871D0C7-D47A-2640-813B-53F72DCEA1B5}" dt="2020-08-10T19:11:19.693" v="260" actId="14100"/>
          <ac:graphicFrameMkLst>
            <pc:docMk/>
            <pc:sldMk cId="2535481493" sldId="1116"/>
            <ac:graphicFrameMk id="7" creationId="{7CA9D784-8A66-BF44-A6EA-3D4DAC7EF62A}"/>
          </ac:graphicFrameMkLst>
        </pc:graphicFrameChg>
        <pc:graphicFrameChg chg="del">
          <ac:chgData name="Ruoran Lin (DCP)" userId="5ba63a2c-b5bc-4f17-a87a-a3a824a8af35" providerId="ADAL" clId="{E871D0C7-D47A-2640-813B-53F72DCEA1B5}" dt="2020-08-10T19:10:55.713" v="245" actId="478"/>
          <ac:graphicFrameMkLst>
            <pc:docMk/>
            <pc:sldMk cId="2535481493" sldId="1116"/>
            <ac:graphicFrameMk id="9" creationId="{7CA9D784-8A66-BF44-A6EA-3D4DAC7EF62A}"/>
          </ac:graphicFrameMkLst>
        </pc:graphicFrameChg>
      </pc:sldChg>
      <pc:sldChg chg="addSp delSp modSp mod">
        <pc:chgData name="Ruoran Lin (DCP)" userId="5ba63a2c-b5bc-4f17-a87a-a3a824a8af35" providerId="ADAL" clId="{E871D0C7-D47A-2640-813B-53F72DCEA1B5}" dt="2020-08-10T19:22:17.275" v="407" actId="20577"/>
        <pc:sldMkLst>
          <pc:docMk/>
          <pc:sldMk cId="423080654" sldId="1117"/>
        </pc:sldMkLst>
        <pc:spChg chg="mod">
          <ac:chgData name="Ruoran Lin (DCP)" userId="5ba63a2c-b5bc-4f17-a87a-a3a824a8af35" providerId="ADAL" clId="{E871D0C7-D47A-2640-813B-53F72DCEA1B5}" dt="2020-08-10T19:22:17.275" v="407" actId="20577"/>
          <ac:spMkLst>
            <pc:docMk/>
            <pc:sldMk cId="423080654" sldId="1117"/>
            <ac:spMk id="8" creationId="{B4306CB6-AC48-1546-B565-FD067D80C14C}"/>
          </ac:spMkLst>
        </pc:spChg>
        <pc:spChg chg="del">
          <ac:chgData name="Ruoran Lin (DCP)" userId="5ba63a2c-b5bc-4f17-a87a-a3a824a8af35" providerId="ADAL" clId="{E871D0C7-D47A-2640-813B-53F72DCEA1B5}" dt="2020-08-10T18:57:52.212" v="129" actId="478"/>
          <ac:spMkLst>
            <pc:docMk/>
            <pc:sldMk cId="423080654" sldId="1117"/>
            <ac:spMk id="12" creationId="{31A71D83-830E-4E53-B8AD-163D71430676}"/>
          </ac:spMkLst>
        </pc:spChg>
        <pc:spChg chg="mod">
          <ac:chgData name="Ruoran Lin (DCP)" userId="5ba63a2c-b5bc-4f17-a87a-a3a824a8af35" providerId="ADAL" clId="{E871D0C7-D47A-2640-813B-53F72DCEA1B5}" dt="2020-08-10T18:57:49.761" v="128" actId="14100"/>
          <ac:spMkLst>
            <pc:docMk/>
            <pc:sldMk cId="423080654" sldId="1117"/>
            <ac:spMk id="16" creationId="{EEAAF4E4-3BF2-4A27-AE32-5FE651902BB5}"/>
          </ac:spMkLst>
        </pc:spChg>
        <pc:graphicFrameChg chg="del">
          <ac:chgData name="Ruoran Lin (DCP)" userId="5ba63a2c-b5bc-4f17-a87a-a3a824a8af35" providerId="ADAL" clId="{E871D0C7-D47A-2640-813B-53F72DCEA1B5}" dt="2020-08-10T18:56:45.569" v="100" actId="478"/>
          <ac:graphicFrameMkLst>
            <pc:docMk/>
            <pc:sldMk cId="423080654" sldId="1117"/>
            <ac:graphicFrameMk id="10" creationId="{CF9C6408-D442-3F4B-BC9E-BBA8FF4D2B0C}"/>
          </ac:graphicFrameMkLst>
        </pc:graphicFrameChg>
        <pc:graphicFrameChg chg="del">
          <ac:chgData name="Ruoran Lin (DCP)" userId="5ba63a2c-b5bc-4f17-a87a-a3a824a8af35" providerId="ADAL" clId="{E871D0C7-D47A-2640-813B-53F72DCEA1B5}" dt="2020-08-10T18:57:54.813" v="130" actId="478"/>
          <ac:graphicFrameMkLst>
            <pc:docMk/>
            <pc:sldMk cId="423080654" sldId="1117"/>
            <ac:graphicFrameMk id="11" creationId="{CBDF49BE-05E1-D947-9E53-6A95B9817C41}"/>
          </ac:graphicFrameMkLst>
        </pc:graphicFrameChg>
        <pc:graphicFrameChg chg="add mod">
          <ac:chgData name="Ruoran Lin (DCP)" userId="5ba63a2c-b5bc-4f17-a87a-a3a824a8af35" providerId="ADAL" clId="{E871D0C7-D47A-2640-813B-53F72DCEA1B5}" dt="2020-08-10T18:57:28.824" v="107" actId="255"/>
          <ac:graphicFrameMkLst>
            <pc:docMk/>
            <pc:sldMk cId="423080654" sldId="1117"/>
            <ac:graphicFrameMk id="13" creationId="{CF9C6408-D442-3F4B-BC9E-BBA8FF4D2B0C}"/>
          </ac:graphicFrameMkLst>
        </pc:graphicFrameChg>
        <pc:graphicFrameChg chg="add mod">
          <ac:chgData name="Ruoran Lin (DCP)" userId="5ba63a2c-b5bc-4f17-a87a-a3a824a8af35" providerId="ADAL" clId="{E871D0C7-D47A-2640-813B-53F72DCEA1B5}" dt="2020-08-10T18:58:36.897" v="138" actId="1582"/>
          <ac:graphicFrameMkLst>
            <pc:docMk/>
            <pc:sldMk cId="423080654" sldId="1117"/>
            <ac:graphicFrameMk id="14" creationId="{CBDF49BE-05E1-D947-9E53-6A95B9817C41}"/>
          </ac:graphicFrameMkLst>
        </pc:graphicFrameChg>
      </pc:sldChg>
      <pc:sldChg chg="addSp delSp modSp mod">
        <pc:chgData name="Ruoran Lin (DCP)" userId="5ba63a2c-b5bc-4f17-a87a-a3a824a8af35" providerId="ADAL" clId="{E871D0C7-D47A-2640-813B-53F72DCEA1B5}" dt="2020-08-10T19:23:19.620" v="479" actId="20577"/>
        <pc:sldMkLst>
          <pc:docMk/>
          <pc:sldMk cId="1462918329" sldId="1118"/>
        </pc:sldMkLst>
        <pc:spChg chg="mod">
          <ac:chgData name="Ruoran Lin (DCP)" userId="5ba63a2c-b5bc-4f17-a87a-a3a824a8af35" providerId="ADAL" clId="{E871D0C7-D47A-2640-813B-53F72DCEA1B5}" dt="2020-08-10T19:23:19.620" v="479" actId="20577"/>
          <ac:spMkLst>
            <pc:docMk/>
            <pc:sldMk cId="1462918329" sldId="1118"/>
            <ac:spMk id="6" creationId="{6112D5FE-E18B-6A43-BA78-7662CB7AF3D1}"/>
          </ac:spMkLst>
        </pc:spChg>
        <pc:spChg chg="del">
          <ac:chgData name="Ruoran Lin (DCP)" userId="5ba63a2c-b5bc-4f17-a87a-a3a824a8af35" providerId="ADAL" clId="{E871D0C7-D47A-2640-813B-53F72DCEA1B5}" dt="2020-08-10T19:02:57.571" v="216" actId="478"/>
          <ac:spMkLst>
            <pc:docMk/>
            <pc:sldMk cId="1462918329" sldId="1118"/>
            <ac:spMk id="7" creationId="{5DD5AC5F-360F-8042-AE73-AF91185B9B19}"/>
          </ac:spMkLst>
        </pc:spChg>
        <pc:spChg chg="mod">
          <ac:chgData name="Ruoran Lin (DCP)" userId="5ba63a2c-b5bc-4f17-a87a-a3a824a8af35" providerId="ADAL" clId="{E871D0C7-D47A-2640-813B-53F72DCEA1B5}" dt="2020-08-10T19:02:51.721" v="214" actId="14100"/>
          <ac:spMkLst>
            <pc:docMk/>
            <pc:sldMk cId="1462918329" sldId="1118"/>
            <ac:spMk id="15" creationId="{42EEFAD9-EB99-4632-9C99-DBE1303C9E5C}"/>
          </ac:spMkLst>
        </pc:spChg>
        <pc:graphicFrameChg chg="del">
          <ac:chgData name="Ruoran Lin (DCP)" userId="5ba63a2c-b5bc-4f17-a87a-a3a824a8af35" providerId="ADAL" clId="{E871D0C7-D47A-2640-813B-53F72DCEA1B5}" dt="2020-08-10T19:01:59.689" v="185" actId="478"/>
          <ac:graphicFrameMkLst>
            <pc:docMk/>
            <pc:sldMk cId="1462918329" sldId="1118"/>
            <ac:graphicFrameMk id="11" creationId="{09E4867E-86BF-F842-86A3-FA8343B6AC69}"/>
          </ac:graphicFrameMkLst>
        </pc:graphicFrameChg>
        <pc:graphicFrameChg chg="del">
          <ac:chgData name="Ruoran Lin (DCP)" userId="5ba63a2c-b5bc-4f17-a87a-a3a824a8af35" providerId="ADAL" clId="{E871D0C7-D47A-2640-813B-53F72DCEA1B5}" dt="2020-08-10T19:02:56.039" v="215" actId="478"/>
          <ac:graphicFrameMkLst>
            <pc:docMk/>
            <pc:sldMk cId="1462918329" sldId="1118"/>
            <ac:graphicFrameMk id="12" creationId="{9BDD3167-C185-E640-8474-A9E5E82FE47E}"/>
          </ac:graphicFrameMkLst>
        </pc:graphicFrameChg>
        <pc:graphicFrameChg chg="add mod">
          <ac:chgData name="Ruoran Lin (DCP)" userId="5ba63a2c-b5bc-4f17-a87a-a3a824a8af35" providerId="ADAL" clId="{E871D0C7-D47A-2640-813B-53F72DCEA1B5}" dt="2020-08-10T19:02:40.195" v="192" actId="167"/>
          <ac:graphicFrameMkLst>
            <pc:docMk/>
            <pc:sldMk cId="1462918329" sldId="1118"/>
            <ac:graphicFrameMk id="13" creationId="{09E4867E-86BF-F842-86A3-FA8343B6AC69}"/>
          </ac:graphicFrameMkLst>
        </pc:graphicFrameChg>
        <pc:graphicFrameChg chg="add mod">
          <ac:chgData name="Ruoran Lin (DCP)" userId="5ba63a2c-b5bc-4f17-a87a-a3a824a8af35" providerId="ADAL" clId="{E871D0C7-D47A-2640-813B-53F72DCEA1B5}" dt="2020-08-10T19:03:42.101" v="225" actId="1582"/>
          <ac:graphicFrameMkLst>
            <pc:docMk/>
            <pc:sldMk cId="1462918329" sldId="1118"/>
            <ac:graphicFrameMk id="14" creationId="{9BDD3167-C185-E640-8474-A9E5E82FE47E}"/>
          </ac:graphicFrameMkLst>
        </pc:graphicFrameChg>
      </pc:sldChg>
      <pc:sldChg chg="addSp delSp modSp mod">
        <pc:chgData name="Ruoran Lin (DCP)" userId="5ba63a2c-b5bc-4f17-a87a-a3a824a8af35" providerId="ADAL" clId="{E871D0C7-D47A-2640-813B-53F72DCEA1B5}" dt="2020-08-10T19:22:50.710" v="441" actId="20577"/>
        <pc:sldMkLst>
          <pc:docMk/>
          <pc:sldMk cId="2318289709" sldId="1119"/>
        </pc:sldMkLst>
        <pc:spChg chg="mod">
          <ac:chgData name="Ruoran Lin (DCP)" userId="5ba63a2c-b5bc-4f17-a87a-a3a824a8af35" providerId="ADAL" clId="{E871D0C7-D47A-2640-813B-53F72DCEA1B5}" dt="2020-08-10T19:22:50.710" v="441" actId="20577"/>
          <ac:spMkLst>
            <pc:docMk/>
            <pc:sldMk cId="2318289709" sldId="1119"/>
            <ac:spMk id="6" creationId="{6112D5FE-E18B-6A43-BA78-7662CB7AF3D1}"/>
          </ac:spMkLst>
        </pc:spChg>
        <pc:spChg chg="mod">
          <ac:chgData name="Ruoran Lin (DCP)" userId="5ba63a2c-b5bc-4f17-a87a-a3a824a8af35" providerId="ADAL" clId="{E871D0C7-D47A-2640-813B-53F72DCEA1B5}" dt="2020-08-10T19:00:57.624" v="174" actId="14100"/>
          <ac:spMkLst>
            <pc:docMk/>
            <pc:sldMk cId="2318289709" sldId="1119"/>
            <ac:spMk id="16" creationId="{6C861208-9C6B-48E6-A4CA-BDD28984EE2A}"/>
          </ac:spMkLst>
        </pc:spChg>
        <pc:spChg chg="del">
          <ac:chgData name="Ruoran Lin (DCP)" userId="5ba63a2c-b5bc-4f17-a87a-a3a824a8af35" providerId="ADAL" clId="{E871D0C7-D47A-2640-813B-53F72DCEA1B5}" dt="2020-08-10T19:00:59.728" v="175" actId="478"/>
          <ac:spMkLst>
            <pc:docMk/>
            <pc:sldMk cId="2318289709" sldId="1119"/>
            <ac:spMk id="17" creationId="{E6DF6D2B-59C0-4A3B-9366-FC1EA3CBADC0}"/>
          </ac:spMkLst>
        </pc:spChg>
        <pc:graphicFrameChg chg="del">
          <ac:chgData name="Ruoran Lin (DCP)" userId="5ba63a2c-b5bc-4f17-a87a-a3a824a8af35" providerId="ADAL" clId="{E871D0C7-D47A-2640-813B-53F72DCEA1B5}" dt="2020-08-10T18:59:34.893" v="139" actId="478"/>
          <ac:graphicFrameMkLst>
            <pc:docMk/>
            <pc:sldMk cId="2318289709" sldId="1119"/>
            <ac:graphicFrameMk id="11" creationId="{314DAC1C-7548-AD43-847D-4D92A07546B4}"/>
          </ac:graphicFrameMkLst>
        </pc:graphicFrameChg>
        <pc:graphicFrameChg chg="del">
          <ac:chgData name="Ruoran Lin (DCP)" userId="5ba63a2c-b5bc-4f17-a87a-a3a824a8af35" providerId="ADAL" clId="{E871D0C7-D47A-2640-813B-53F72DCEA1B5}" dt="2020-08-10T19:01:00.957" v="176" actId="478"/>
          <ac:graphicFrameMkLst>
            <pc:docMk/>
            <pc:sldMk cId="2318289709" sldId="1119"/>
            <ac:graphicFrameMk id="12" creationId="{013EBD7A-8F34-E341-9996-60CA6B2E0C8E}"/>
          </ac:graphicFrameMkLst>
        </pc:graphicFrameChg>
        <pc:graphicFrameChg chg="add mod">
          <ac:chgData name="Ruoran Lin (DCP)" userId="5ba63a2c-b5bc-4f17-a87a-a3a824a8af35" providerId="ADAL" clId="{E871D0C7-D47A-2640-813B-53F72DCEA1B5}" dt="2020-08-10T19:00:50.123" v="173" actId="14100"/>
          <ac:graphicFrameMkLst>
            <pc:docMk/>
            <pc:sldMk cId="2318289709" sldId="1119"/>
            <ac:graphicFrameMk id="13" creationId="{314DAC1C-7548-AD43-847D-4D92A07546B4}"/>
          </ac:graphicFrameMkLst>
        </pc:graphicFrameChg>
        <pc:graphicFrameChg chg="add mod">
          <ac:chgData name="Ruoran Lin (DCP)" userId="5ba63a2c-b5bc-4f17-a87a-a3a824a8af35" providerId="ADAL" clId="{E871D0C7-D47A-2640-813B-53F72DCEA1B5}" dt="2020-08-10T19:01:45.677" v="184" actId="1582"/>
          <ac:graphicFrameMkLst>
            <pc:docMk/>
            <pc:sldMk cId="2318289709" sldId="1119"/>
            <ac:graphicFrameMk id="14" creationId="{013EBD7A-8F34-E341-9996-60CA6B2E0C8E}"/>
          </ac:graphicFrameMkLst>
        </pc:graphicFrameChg>
      </pc:sldChg>
      <pc:sldChg chg="addSp delSp modSp mod">
        <pc:chgData name="Ruoran Lin (DCP)" userId="5ba63a2c-b5bc-4f17-a87a-a3a824a8af35" providerId="ADAL" clId="{E871D0C7-D47A-2640-813B-53F72DCEA1B5}" dt="2020-08-10T19:21:16.414" v="370" actId="20577"/>
        <pc:sldMkLst>
          <pc:docMk/>
          <pc:sldMk cId="3310687531" sldId="1134"/>
        </pc:sldMkLst>
        <pc:spChg chg="mod">
          <ac:chgData name="Ruoran Lin (DCP)" userId="5ba63a2c-b5bc-4f17-a87a-a3a824a8af35" providerId="ADAL" clId="{E871D0C7-D47A-2640-813B-53F72DCEA1B5}" dt="2020-08-10T19:21:16.414" v="370" actId="20577"/>
          <ac:spMkLst>
            <pc:docMk/>
            <pc:sldMk cId="3310687531" sldId="1134"/>
            <ac:spMk id="3" creationId="{6858E440-5B76-4D68-A87B-A905D688B756}"/>
          </ac:spMkLst>
        </pc:spChg>
        <pc:graphicFrameChg chg="add mod">
          <ac:chgData name="Ruoran Lin (DCP)" userId="5ba63a2c-b5bc-4f17-a87a-a3a824a8af35" providerId="ADAL" clId="{E871D0C7-D47A-2640-813B-53F72DCEA1B5}" dt="2020-08-10T19:17:39.496" v="347" actId="1076"/>
          <ac:graphicFrameMkLst>
            <pc:docMk/>
            <pc:sldMk cId="3310687531" sldId="1134"/>
            <ac:graphicFrameMk id="8" creationId="{15CA4A1D-9978-FE49-B612-0CA1F8C502BF}"/>
          </ac:graphicFrameMkLst>
        </pc:graphicFrameChg>
        <pc:graphicFrameChg chg="add mod">
          <ac:chgData name="Ruoran Lin (DCP)" userId="5ba63a2c-b5bc-4f17-a87a-a3a824a8af35" providerId="ADAL" clId="{E871D0C7-D47A-2640-813B-53F72DCEA1B5}" dt="2020-08-10T19:20:52.906" v="364" actId="404"/>
          <ac:graphicFrameMkLst>
            <pc:docMk/>
            <pc:sldMk cId="3310687531" sldId="1134"/>
            <ac:graphicFrameMk id="9" creationId="{EDA35A6A-F0D3-2048-9F51-ECB2432A8458}"/>
          </ac:graphicFrameMkLst>
        </pc:graphicFrameChg>
        <pc:graphicFrameChg chg="del">
          <ac:chgData name="Ruoran Lin (DCP)" userId="5ba63a2c-b5bc-4f17-a87a-a3a824a8af35" providerId="ADAL" clId="{E871D0C7-D47A-2640-813B-53F72DCEA1B5}" dt="2020-08-10T19:19:25.268" v="356" actId="478"/>
          <ac:graphicFrameMkLst>
            <pc:docMk/>
            <pc:sldMk cId="3310687531" sldId="1134"/>
            <ac:graphicFrameMk id="10" creationId="{EDA35A6A-F0D3-2048-9F51-ECB2432A8458}"/>
          </ac:graphicFrameMkLst>
        </pc:graphicFrameChg>
        <pc:graphicFrameChg chg="del">
          <ac:chgData name="Ruoran Lin (DCP)" userId="5ba63a2c-b5bc-4f17-a87a-a3a824a8af35" providerId="ADAL" clId="{E871D0C7-D47A-2640-813B-53F72DCEA1B5}" dt="2020-08-10T19:17:19.059" v="338" actId="478"/>
          <ac:graphicFrameMkLst>
            <pc:docMk/>
            <pc:sldMk cId="3310687531" sldId="1134"/>
            <ac:graphicFrameMk id="11" creationId="{15CA4A1D-9978-FE49-B612-0CA1F8C502BF}"/>
          </ac:graphicFrameMkLst>
        </pc:graphicFrameChg>
      </pc:sldChg>
    </pc:docChg>
  </pc:docChgLst>
  <pc:docChgLst>
    <pc:chgData name="Le Zhang (DCP)" userId="4093b8df-c45f-452e-86ba-4cdd8d4ea262" providerId="ADAL" clId="{8AD934B5-FF38-4F37-AC7C-0B7A9879673F}"/>
    <pc:docChg chg="undo custSel modSld modMainMaster">
      <pc:chgData name="Le Zhang (DCP)" userId="4093b8df-c45f-452e-86ba-4cdd8d4ea262" providerId="ADAL" clId="{8AD934B5-FF38-4F37-AC7C-0B7A9879673F}" dt="2020-08-04T19:00:00.744" v="652"/>
      <pc:docMkLst>
        <pc:docMk/>
      </pc:docMkLst>
      <pc:sldChg chg="addSp delSp modSp mod">
        <pc:chgData name="Le Zhang (DCP)" userId="4093b8df-c45f-452e-86ba-4cdd8d4ea262" providerId="ADAL" clId="{8AD934B5-FF38-4F37-AC7C-0B7A9879673F}" dt="2020-08-04T18:59:40.242" v="647" actId="20577"/>
        <pc:sldMkLst>
          <pc:docMk/>
          <pc:sldMk cId="3893609620" sldId="945"/>
        </pc:sldMkLst>
        <pc:spChg chg="mod">
          <ac:chgData name="Le Zhang (DCP)" userId="4093b8df-c45f-452e-86ba-4cdd8d4ea262" providerId="ADAL" clId="{8AD934B5-FF38-4F37-AC7C-0B7A9879673F}" dt="2020-08-04T18:59:40.242" v="647" actId="20577"/>
          <ac:spMkLst>
            <pc:docMk/>
            <pc:sldMk cId="3893609620" sldId="945"/>
            <ac:spMk id="18" creationId="{4B400C07-9027-4C73-9C4E-038FC4557A14}"/>
          </ac:spMkLst>
        </pc:spChg>
        <pc:spChg chg="del mod">
          <ac:chgData name="Le Zhang (DCP)" userId="4093b8df-c45f-452e-86ba-4cdd8d4ea262" providerId="ADAL" clId="{8AD934B5-FF38-4F37-AC7C-0B7A9879673F}" dt="2020-08-04T17:37:41.767" v="206" actId="478"/>
          <ac:spMkLst>
            <pc:docMk/>
            <pc:sldMk cId="3893609620" sldId="945"/>
            <ac:spMk id="29" creationId="{CAD675BA-0092-4FF3-9299-8A666400E123}"/>
          </ac:spMkLst>
        </pc:spChg>
        <pc:spChg chg="mod">
          <ac:chgData name="Le Zhang (DCP)" userId="4093b8df-c45f-452e-86ba-4cdd8d4ea262" providerId="ADAL" clId="{8AD934B5-FF38-4F37-AC7C-0B7A9879673F}" dt="2020-08-04T17:37:17.135" v="201" actId="1038"/>
          <ac:spMkLst>
            <pc:docMk/>
            <pc:sldMk cId="3893609620" sldId="945"/>
            <ac:spMk id="30" creationId="{94EFE761-FD16-48E0-933F-AD68746AB657}"/>
          </ac:spMkLst>
        </pc:spChg>
        <pc:spChg chg="mod">
          <ac:chgData name="Le Zhang (DCP)" userId="4093b8df-c45f-452e-86ba-4cdd8d4ea262" providerId="ADAL" clId="{8AD934B5-FF38-4F37-AC7C-0B7A9879673F}" dt="2020-08-04T17:37:17.135" v="201" actId="1038"/>
          <ac:spMkLst>
            <pc:docMk/>
            <pc:sldMk cId="3893609620" sldId="945"/>
            <ac:spMk id="31" creationId="{0BF07143-E56E-40FA-9849-54DC7832BB78}"/>
          </ac:spMkLst>
        </pc:spChg>
        <pc:spChg chg="mod">
          <ac:chgData name="Le Zhang (DCP)" userId="4093b8df-c45f-452e-86ba-4cdd8d4ea262" providerId="ADAL" clId="{8AD934B5-FF38-4F37-AC7C-0B7A9879673F}" dt="2020-08-04T17:37:08.513" v="187" actId="1076"/>
          <ac:spMkLst>
            <pc:docMk/>
            <pc:sldMk cId="3893609620" sldId="945"/>
            <ac:spMk id="32" creationId="{4A9D15F8-3390-45AE-BEF1-6CD30E8208A6}"/>
          </ac:spMkLst>
        </pc:spChg>
        <pc:spChg chg="mod">
          <ac:chgData name="Le Zhang (DCP)" userId="4093b8df-c45f-452e-86ba-4cdd8d4ea262" providerId="ADAL" clId="{8AD934B5-FF38-4F37-AC7C-0B7A9879673F}" dt="2020-08-04T17:35:58.319" v="166" actId="20577"/>
          <ac:spMkLst>
            <pc:docMk/>
            <pc:sldMk cId="3893609620" sldId="945"/>
            <ac:spMk id="33" creationId="{6940218C-8629-4C01-8501-CC380A5F2E2B}"/>
          </ac:spMkLst>
        </pc:spChg>
        <pc:spChg chg="mod">
          <ac:chgData name="Le Zhang (DCP)" userId="4093b8df-c45f-452e-86ba-4cdd8d4ea262" providerId="ADAL" clId="{8AD934B5-FF38-4F37-AC7C-0B7A9879673F}" dt="2020-08-04T17:36:10.314" v="170" actId="20577"/>
          <ac:spMkLst>
            <pc:docMk/>
            <pc:sldMk cId="3893609620" sldId="945"/>
            <ac:spMk id="34" creationId="{EB37EFAB-7DC3-4863-959A-C09E68B63594}"/>
          </ac:spMkLst>
        </pc:spChg>
        <pc:spChg chg="mod">
          <ac:chgData name="Le Zhang (DCP)" userId="4093b8df-c45f-452e-86ba-4cdd8d4ea262" providerId="ADAL" clId="{8AD934B5-FF38-4F37-AC7C-0B7A9879673F}" dt="2020-08-04T17:36:46.501" v="182" actId="1076"/>
          <ac:spMkLst>
            <pc:docMk/>
            <pc:sldMk cId="3893609620" sldId="945"/>
            <ac:spMk id="35" creationId="{4C2FC8C1-9DF4-40FB-89A2-1816329ABBD9}"/>
          </ac:spMkLst>
        </pc:spChg>
        <pc:spChg chg="add mod">
          <ac:chgData name="Le Zhang (DCP)" userId="4093b8df-c45f-452e-86ba-4cdd8d4ea262" providerId="ADAL" clId="{8AD934B5-FF38-4F37-AC7C-0B7A9879673F}" dt="2020-08-04T17:37:01.227" v="186" actId="1076"/>
          <ac:spMkLst>
            <pc:docMk/>
            <pc:sldMk cId="3893609620" sldId="945"/>
            <ac:spMk id="42" creationId="{C7F89269-E04A-4CF9-A44A-60A71BB258CE}"/>
          </ac:spMkLst>
        </pc:spChg>
        <pc:spChg chg="add mod">
          <ac:chgData name="Le Zhang (DCP)" userId="4093b8df-c45f-452e-86ba-4cdd8d4ea262" providerId="ADAL" clId="{8AD934B5-FF38-4F37-AC7C-0B7A9879673F}" dt="2020-08-04T17:36:52.991" v="183" actId="1076"/>
          <ac:spMkLst>
            <pc:docMk/>
            <pc:sldMk cId="3893609620" sldId="945"/>
            <ac:spMk id="43" creationId="{84C7CD6C-F58F-404C-BD12-06B7ADFBADC4}"/>
          </ac:spMkLst>
        </pc:spChg>
        <pc:spChg chg="mod">
          <ac:chgData name="Le Zhang (DCP)" userId="4093b8df-c45f-452e-86ba-4cdd8d4ea262" providerId="ADAL" clId="{8AD934B5-FF38-4F37-AC7C-0B7A9879673F}" dt="2020-08-04T17:40:12.400" v="231" actId="20577"/>
          <ac:spMkLst>
            <pc:docMk/>
            <pc:sldMk cId="3893609620" sldId="945"/>
            <ac:spMk id="46" creationId="{D7B7A9D9-72DC-4C15-A101-5CF60024CF42}"/>
          </ac:spMkLst>
        </pc:spChg>
        <pc:spChg chg="mod">
          <ac:chgData name="Le Zhang (DCP)" userId="4093b8df-c45f-452e-86ba-4cdd8d4ea262" providerId="ADAL" clId="{8AD934B5-FF38-4F37-AC7C-0B7A9879673F}" dt="2020-08-04T17:37:27.199" v="205" actId="1038"/>
          <ac:spMkLst>
            <pc:docMk/>
            <pc:sldMk cId="3893609620" sldId="945"/>
            <ac:spMk id="48" creationId="{F1DD7476-BCD6-4063-840E-32EA2BC5AD01}"/>
          </ac:spMkLst>
        </pc:spChg>
        <pc:grpChg chg="mod">
          <ac:chgData name="Le Zhang (DCP)" userId="4093b8df-c45f-452e-86ba-4cdd8d4ea262" providerId="ADAL" clId="{8AD934B5-FF38-4F37-AC7C-0B7A9879673F}" dt="2020-08-04T17:36:56.022" v="185" actId="1076"/>
          <ac:grpSpMkLst>
            <pc:docMk/>
            <pc:sldMk cId="3893609620" sldId="945"/>
            <ac:grpSpMk id="3" creationId="{887DC773-55F1-4473-9B31-7F07D553A240}"/>
          </ac:grpSpMkLst>
        </pc:grpChg>
        <pc:grpChg chg="mod">
          <ac:chgData name="Le Zhang (DCP)" userId="4093b8df-c45f-452e-86ba-4cdd8d4ea262" providerId="ADAL" clId="{8AD934B5-FF38-4F37-AC7C-0B7A9879673F}" dt="2020-08-04T17:40:08.518" v="227" actId="1036"/>
          <ac:grpSpMkLst>
            <pc:docMk/>
            <pc:sldMk cId="3893609620" sldId="945"/>
            <ac:grpSpMk id="14" creationId="{51D7E514-97F9-4E49-8257-3A7C5D002E4B}"/>
          </ac:grpSpMkLst>
        </pc:grpChg>
        <pc:grpChg chg="mod">
          <ac:chgData name="Le Zhang (DCP)" userId="4093b8df-c45f-452e-86ba-4cdd8d4ea262" providerId="ADAL" clId="{8AD934B5-FF38-4F37-AC7C-0B7A9879673F}" dt="2020-08-04T17:41:29.473" v="267" actId="14100"/>
          <ac:grpSpMkLst>
            <pc:docMk/>
            <pc:sldMk cId="3893609620" sldId="945"/>
            <ac:grpSpMk id="21" creationId="{D731847C-4DBE-4AE5-B7E7-BC7A44AC83FE}"/>
          </ac:grpSpMkLst>
        </pc:grpChg>
        <pc:grpChg chg="mod">
          <ac:chgData name="Le Zhang (DCP)" userId="4093b8df-c45f-452e-86ba-4cdd8d4ea262" providerId="ADAL" clId="{8AD934B5-FF38-4F37-AC7C-0B7A9879673F}" dt="2020-08-04T17:30:11.712" v="134"/>
          <ac:grpSpMkLst>
            <pc:docMk/>
            <pc:sldMk cId="3893609620" sldId="945"/>
            <ac:grpSpMk id="25" creationId="{5BABA797-0DCD-4E58-9609-E0B0D33B5F04}"/>
          </ac:grpSpMkLst>
        </pc:grpChg>
        <pc:grpChg chg="mod">
          <ac:chgData name="Le Zhang (DCP)" userId="4093b8df-c45f-452e-86ba-4cdd8d4ea262" providerId="ADAL" clId="{8AD934B5-FF38-4F37-AC7C-0B7A9879673F}" dt="2020-08-04T17:30:11.712" v="134"/>
          <ac:grpSpMkLst>
            <pc:docMk/>
            <pc:sldMk cId="3893609620" sldId="945"/>
            <ac:grpSpMk id="27" creationId="{3795B927-32AF-48BE-8D06-B3FA72EA010A}"/>
          </ac:grpSpMkLst>
        </pc:grpChg>
        <pc:grpChg chg="mod">
          <ac:chgData name="Le Zhang (DCP)" userId="4093b8df-c45f-452e-86ba-4cdd8d4ea262" providerId="ADAL" clId="{8AD934B5-FF38-4F37-AC7C-0B7A9879673F}" dt="2020-08-04T17:30:11.712" v="134"/>
          <ac:grpSpMkLst>
            <pc:docMk/>
            <pc:sldMk cId="3893609620" sldId="945"/>
            <ac:grpSpMk id="38" creationId="{A148A6BF-0FCB-402E-92DF-B905255AB259}"/>
          </ac:grpSpMkLst>
        </pc:grpChg>
        <pc:graphicFrameChg chg="add del mod">
          <ac:chgData name="Le Zhang (DCP)" userId="4093b8df-c45f-452e-86ba-4cdd8d4ea262" providerId="ADAL" clId="{8AD934B5-FF38-4F37-AC7C-0B7A9879673F}" dt="2020-08-04T17:29:06.364" v="100" actId="478"/>
          <ac:graphicFrameMkLst>
            <pc:docMk/>
            <pc:sldMk cId="3893609620" sldId="945"/>
            <ac:graphicFrameMk id="36" creationId="{85655A2E-7906-453D-B465-6827A45C6D9A}"/>
          </ac:graphicFrameMkLst>
        </pc:graphicFrameChg>
        <pc:graphicFrameChg chg="add">
          <ac:chgData name="Le Zhang (DCP)" userId="4093b8df-c45f-452e-86ba-4cdd8d4ea262" providerId="ADAL" clId="{8AD934B5-FF38-4F37-AC7C-0B7A9879673F}" dt="2020-08-04T17:28:59.572" v="99"/>
          <ac:graphicFrameMkLst>
            <pc:docMk/>
            <pc:sldMk cId="3893609620" sldId="945"/>
            <ac:graphicFrameMk id="37" creationId="{85655A2E-7906-453D-B465-6827A45C6D9A}"/>
          </ac:graphicFrameMkLst>
        </pc:graphicFrameChg>
        <pc:graphicFrameChg chg="add mod">
          <ac:chgData name="Le Zhang (DCP)" userId="4093b8df-c45f-452e-86ba-4cdd8d4ea262" providerId="ADAL" clId="{8AD934B5-FF38-4F37-AC7C-0B7A9879673F}" dt="2020-08-04T17:39:41.322" v="220" actId="404"/>
          <ac:graphicFrameMkLst>
            <pc:docMk/>
            <pc:sldMk cId="3893609620" sldId="945"/>
            <ac:graphicFrameMk id="41" creationId="{85655A2E-7906-453D-B465-6827A45C6D9A}"/>
          </ac:graphicFrameMkLst>
        </pc:graphicFrameChg>
        <pc:graphicFrameChg chg="add del mod">
          <ac:chgData name="Le Zhang (DCP)" userId="4093b8df-c45f-452e-86ba-4cdd8d4ea262" providerId="ADAL" clId="{8AD934B5-FF38-4F37-AC7C-0B7A9879673F}" dt="2020-08-04T17:39:08.982" v="211" actId="478"/>
          <ac:graphicFrameMkLst>
            <pc:docMk/>
            <pc:sldMk cId="3893609620" sldId="945"/>
            <ac:graphicFrameMk id="44" creationId="{B4F2F5F0-8F46-4DD0-86B3-AB401F8FA9F8}"/>
          </ac:graphicFrameMkLst>
        </pc:graphicFrameChg>
        <pc:graphicFrameChg chg="del">
          <ac:chgData name="Le Zhang (DCP)" userId="4093b8df-c45f-452e-86ba-4cdd8d4ea262" providerId="ADAL" clId="{8AD934B5-FF38-4F37-AC7C-0B7A9879673F}" dt="2020-08-04T17:40:44.754" v="250" actId="478"/>
          <ac:graphicFrameMkLst>
            <pc:docMk/>
            <pc:sldMk cId="3893609620" sldId="945"/>
            <ac:graphicFrameMk id="47" creationId="{9ECF09B4-59DC-4D7B-B17E-1949A37DC1AD}"/>
          </ac:graphicFrameMkLst>
        </pc:graphicFrameChg>
        <pc:graphicFrameChg chg="add del">
          <ac:chgData name="Le Zhang (DCP)" userId="4093b8df-c45f-452e-86ba-4cdd8d4ea262" providerId="ADAL" clId="{8AD934B5-FF38-4F37-AC7C-0B7A9879673F}" dt="2020-08-04T17:15:58.797" v="59" actId="478"/>
          <ac:graphicFrameMkLst>
            <pc:docMk/>
            <pc:sldMk cId="3893609620" sldId="945"/>
            <ac:graphicFrameMk id="49" creationId="{C9D40334-7674-4793-B11B-A6EA8E8C4416}"/>
          </ac:graphicFrameMkLst>
        </pc:graphicFrameChg>
        <pc:graphicFrameChg chg="del">
          <ac:chgData name="Le Zhang (DCP)" userId="4093b8df-c45f-452e-86ba-4cdd8d4ea262" providerId="ADAL" clId="{8AD934B5-FF38-4F37-AC7C-0B7A9879673F}" dt="2020-08-04T17:37:54.332" v="207" actId="478"/>
          <ac:graphicFrameMkLst>
            <pc:docMk/>
            <pc:sldMk cId="3893609620" sldId="945"/>
            <ac:graphicFrameMk id="50" creationId="{2A7D6FA0-5662-4873-90EB-0C8F8FC7F8EA}"/>
          </ac:graphicFrameMkLst>
        </pc:graphicFrameChg>
        <pc:graphicFrameChg chg="add mod">
          <ac:chgData name="Le Zhang (DCP)" userId="4093b8df-c45f-452e-86ba-4cdd8d4ea262" providerId="ADAL" clId="{8AD934B5-FF38-4F37-AC7C-0B7A9879673F}" dt="2020-08-04T17:40:27.602" v="249" actId="20577"/>
          <ac:graphicFrameMkLst>
            <pc:docMk/>
            <pc:sldMk cId="3893609620" sldId="945"/>
            <ac:graphicFrameMk id="51" creationId="{B4F2F5F0-8F46-4DD0-86B3-AB401F8FA9F8}"/>
          </ac:graphicFrameMkLst>
        </pc:graphicFrameChg>
        <pc:graphicFrameChg chg="add mod">
          <ac:chgData name="Le Zhang (DCP)" userId="4093b8df-c45f-452e-86ba-4cdd8d4ea262" providerId="ADAL" clId="{8AD934B5-FF38-4F37-AC7C-0B7A9879673F}" dt="2020-08-04T17:41:58.110" v="269" actId="14100"/>
          <ac:graphicFrameMkLst>
            <pc:docMk/>
            <pc:sldMk cId="3893609620" sldId="945"/>
            <ac:graphicFrameMk id="52" creationId="{7FA9CA48-F2D4-4341-B599-F3016470120C}"/>
          </ac:graphicFrameMkLst>
        </pc:graphicFrameChg>
        <pc:cxnChg chg="mod">
          <ac:chgData name="Le Zhang (DCP)" userId="4093b8df-c45f-452e-86ba-4cdd8d4ea262" providerId="ADAL" clId="{8AD934B5-FF38-4F37-AC7C-0B7A9879673F}" dt="2020-08-04T17:42:10.665" v="277" actId="14100"/>
          <ac:cxnSpMkLst>
            <pc:docMk/>
            <pc:sldMk cId="3893609620" sldId="945"/>
            <ac:cxnSpMk id="23" creationId="{7C2B7576-953B-4998-8B1B-3C1A1B5D7F50}"/>
          </ac:cxnSpMkLst>
        </pc:cxnChg>
      </pc:sldChg>
      <pc:sldChg chg="addSp delSp modSp mod">
        <pc:chgData name="Le Zhang (DCP)" userId="4093b8df-c45f-452e-86ba-4cdd8d4ea262" providerId="ADAL" clId="{8AD934B5-FF38-4F37-AC7C-0B7A9879673F}" dt="2020-08-04T18:59:55.813" v="650" actId="20577"/>
        <pc:sldMkLst>
          <pc:docMk/>
          <pc:sldMk cId="2119415700" sldId="1132"/>
        </pc:sldMkLst>
        <pc:spChg chg="mod">
          <ac:chgData name="Le Zhang (DCP)" userId="4093b8df-c45f-452e-86ba-4cdd8d4ea262" providerId="ADAL" clId="{8AD934B5-FF38-4F37-AC7C-0B7A9879673F}" dt="2020-08-04T17:42:25.982" v="279" actId="20577"/>
          <ac:spMkLst>
            <pc:docMk/>
            <pc:sldMk cId="2119415700" sldId="1132"/>
            <ac:spMk id="2" creationId="{1240F7AE-FDAF-4042-9B2D-27BF33203725}"/>
          </ac:spMkLst>
        </pc:spChg>
        <pc:spChg chg="mod">
          <ac:chgData name="Le Zhang (DCP)" userId="4093b8df-c45f-452e-86ba-4cdd8d4ea262" providerId="ADAL" clId="{8AD934B5-FF38-4F37-AC7C-0B7A9879673F}" dt="2020-08-04T18:59:55.813" v="650" actId="20577"/>
          <ac:spMkLst>
            <pc:docMk/>
            <pc:sldMk cId="2119415700" sldId="1132"/>
            <ac:spMk id="18" creationId="{4B400C07-9027-4C73-9C4E-038FC4557A14}"/>
          </ac:spMkLst>
        </pc:spChg>
        <pc:spChg chg="mod">
          <ac:chgData name="Le Zhang (DCP)" userId="4093b8df-c45f-452e-86ba-4cdd8d4ea262" providerId="ADAL" clId="{8AD934B5-FF38-4F37-AC7C-0B7A9879673F}" dt="2020-08-04T17:49:43.807" v="342" actId="1076"/>
          <ac:spMkLst>
            <pc:docMk/>
            <pc:sldMk cId="2119415700" sldId="1132"/>
            <ac:spMk id="24" creationId="{85800FDC-7597-4A4B-99BA-C987E4FF4D31}"/>
          </ac:spMkLst>
        </pc:spChg>
        <pc:spChg chg="del">
          <ac:chgData name="Le Zhang (DCP)" userId="4093b8df-c45f-452e-86ba-4cdd8d4ea262" providerId="ADAL" clId="{8AD934B5-FF38-4F37-AC7C-0B7A9879673F}" dt="2020-08-04T17:42:31.311" v="280" actId="478"/>
          <ac:spMkLst>
            <pc:docMk/>
            <pc:sldMk cId="2119415700" sldId="1132"/>
            <ac:spMk id="29" creationId="{C711F12B-15CD-4BEB-8098-EBEB0B897A10}"/>
          </ac:spMkLst>
        </pc:spChg>
        <pc:spChg chg="del mod">
          <ac:chgData name="Le Zhang (DCP)" userId="4093b8df-c45f-452e-86ba-4cdd8d4ea262" providerId="ADAL" clId="{8AD934B5-FF38-4F37-AC7C-0B7A9879673F}" dt="2020-08-04T17:46:31.334" v="286" actId="478"/>
          <ac:spMkLst>
            <pc:docMk/>
            <pc:sldMk cId="2119415700" sldId="1132"/>
            <ac:spMk id="30" creationId="{94EFE761-FD16-48E0-933F-AD68746AB657}"/>
          </ac:spMkLst>
        </pc:spChg>
        <pc:spChg chg="del">
          <ac:chgData name="Le Zhang (DCP)" userId="4093b8df-c45f-452e-86ba-4cdd8d4ea262" providerId="ADAL" clId="{8AD934B5-FF38-4F37-AC7C-0B7A9879673F}" dt="2020-08-04T17:46:32.672" v="287" actId="478"/>
          <ac:spMkLst>
            <pc:docMk/>
            <pc:sldMk cId="2119415700" sldId="1132"/>
            <ac:spMk id="31" creationId="{0BF07143-E56E-40FA-9849-54DC7832BB78}"/>
          </ac:spMkLst>
        </pc:spChg>
        <pc:spChg chg="del">
          <ac:chgData name="Le Zhang (DCP)" userId="4093b8df-c45f-452e-86ba-4cdd8d4ea262" providerId="ADAL" clId="{8AD934B5-FF38-4F37-AC7C-0B7A9879673F}" dt="2020-08-04T17:46:34.991" v="288" actId="478"/>
          <ac:spMkLst>
            <pc:docMk/>
            <pc:sldMk cId="2119415700" sldId="1132"/>
            <ac:spMk id="32" creationId="{4A9D15F8-3390-45AE-BEF1-6CD30E8208A6}"/>
          </ac:spMkLst>
        </pc:spChg>
        <pc:spChg chg="del">
          <ac:chgData name="Le Zhang (DCP)" userId="4093b8df-c45f-452e-86ba-4cdd8d4ea262" providerId="ADAL" clId="{8AD934B5-FF38-4F37-AC7C-0B7A9879673F}" dt="2020-08-04T17:46:38.311" v="290" actId="478"/>
          <ac:spMkLst>
            <pc:docMk/>
            <pc:sldMk cId="2119415700" sldId="1132"/>
            <ac:spMk id="33" creationId="{6940218C-8629-4C01-8501-CC380A5F2E2B}"/>
          </ac:spMkLst>
        </pc:spChg>
        <pc:spChg chg="del">
          <ac:chgData name="Le Zhang (DCP)" userId="4093b8df-c45f-452e-86ba-4cdd8d4ea262" providerId="ADAL" clId="{8AD934B5-FF38-4F37-AC7C-0B7A9879673F}" dt="2020-08-04T17:46:40.774" v="291" actId="478"/>
          <ac:spMkLst>
            <pc:docMk/>
            <pc:sldMk cId="2119415700" sldId="1132"/>
            <ac:spMk id="34" creationId="{EB37EFAB-7DC3-4863-959A-C09E68B63594}"/>
          </ac:spMkLst>
        </pc:spChg>
        <pc:spChg chg="del topLvl">
          <ac:chgData name="Le Zhang (DCP)" userId="4093b8df-c45f-452e-86ba-4cdd8d4ea262" providerId="ADAL" clId="{8AD934B5-FF38-4F37-AC7C-0B7A9879673F}" dt="2020-08-04T17:46:42.815" v="292" actId="478"/>
          <ac:spMkLst>
            <pc:docMk/>
            <pc:sldMk cId="2119415700" sldId="1132"/>
            <ac:spMk id="35" creationId="{4C2FC8C1-9DF4-40FB-89A2-1816329ABBD9}"/>
          </ac:spMkLst>
        </pc:spChg>
        <pc:spChg chg="mod">
          <ac:chgData name="Le Zhang (DCP)" userId="4093b8df-c45f-452e-86ba-4cdd8d4ea262" providerId="ADAL" clId="{8AD934B5-FF38-4F37-AC7C-0B7A9879673F}" dt="2020-08-04T17:48:25.406" v="315" actId="20577"/>
          <ac:spMkLst>
            <pc:docMk/>
            <pc:sldMk cId="2119415700" sldId="1132"/>
            <ac:spMk id="46" creationId="{D7B7A9D9-72DC-4C15-A101-5CF60024CF42}"/>
          </ac:spMkLst>
        </pc:spChg>
        <pc:spChg chg="del topLvl">
          <ac:chgData name="Le Zhang (DCP)" userId="4093b8df-c45f-452e-86ba-4cdd8d4ea262" providerId="ADAL" clId="{8AD934B5-FF38-4F37-AC7C-0B7A9879673F}" dt="2020-08-04T17:46:36.894" v="289" actId="478"/>
          <ac:spMkLst>
            <pc:docMk/>
            <pc:sldMk cId="2119415700" sldId="1132"/>
            <ac:spMk id="48" creationId="{F1DD7476-BCD6-4063-840E-32EA2BC5AD01}"/>
          </ac:spMkLst>
        </pc:spChg>
        <pc:grpChg chg="del">
          <ac:chgData name="Le Zhang (DCP)" userId="4093b8df-c45f-452e-86ba-4cdd8d4ea262" providerId="ADAL" clId="{8AD934B5-FF38-4F37-AC7C-0B7A9879673F}" dt="2020-08-04T17:46:36.894" v="289" actId="478"/>
          <ac:grpSpMkLst>
            <pc:docMk/>
            <pc:sldMk cId="2119415700" sldId="1132"/>
            <ac:grpSpMk id="3" creationId="{887DC773-55F1-4473-9B31-7F07D553A240}"/>
          </ac:grpSpMkLst>
        </pc:grpChg>
        <pc:grpChg chg="mod ord">
          <ac:chgData name="Le Zhang (DCP)" userId="4093b8df-c45f-452e-86ba-4cdd8d4ea262" providerId="ADAL" clId="{8AD934B5-FF38-4F37-AC7C-0B7A9879673F}" dt="2020-08-04T17:48:14.059" v="310" actId="166"/>
          <ac:grpSpMkLst>
            <pc:docMk/>
            <pc:sldMk cId="2119415700" sldId="1132"/>
            <ac:grpSpMk id="14" creationId="{51D7E514-97F9-4E49-8257-3A7C5D002E4B}"/>
          </ac:grpSpMkLst>
        </pc:grpChg>
        <pc:grpChg chg="mod ord">
          <ac:chgData name="Le Zhang (DCP)" userId="4093b8df-c45f-452e-86ba-4cdd8d4ea262" providerId="ADAL" clId="{8AD934B5-FF38-4F37-AC7C-0B7A9879673F}" dt="2020-08-04T17:54:26.139" v="356" actId="1036"/>
          <ac:grpSpMkLst>
            <pc:docMk/>
            <pc:sldMk cId="2119415700" sldId="1132"/>
            <ac:grpSpMk id="21" creationId="{D731847C-4DBE-4AE5-B7E7-BC7A44AC83FE}"/>
          </ac:grpSpMkLst>
        </pc:grpChg>
        <pc:grpChg chg="del topLvl">
          <ac:chgData name="Le Zhang (DCP)" userId="4093b8df-c45f-452e-86ba-4cdd8d4ea262" providerId="ADAL" clId="{8AD934B5-FF38-4F37-AC7C-0B7A9879673F}" dt="2020-08-04T17:46:42.815" v="292" actId="478"/>
          <ac:grpSpMkLst>
            <pc:docMk/>
            <pc:sldMk cId="2119415700" sldId="1132"/>
            <ac:grpSpMk id="25" creationId="{5BABA797-0DCD-4E58-9609-E0B0D33B5F04}"/>
          </ac:grpSpMkLst>
        </pc:grpChg>
        <pc:grpChg chg="del">
          <ac:chgData name="Le Zhang (DCP)" userId="4093b8df-c45f-452e-86ba-4cdd8d4ea262" providerId="ADAL" clId="{8AD934B5-FF38-4F37-AC7C-0B7A9879673F}" dt="2020-08-04T17:46:40.774" v="291" actId="478"/>
          <ac:grpSpMkLst>
            <pc:docMk/>
            <pc:sldMk cId="2119415700" sldId="1132"/>
            <ac:grpSpMk id="27" creationId="{3795B927-32AF-48BE-8D06-B3FA72EA010A}"/>
          </ac:grpSpMkLst>
        </pc:grpChg>
        <pc:grpChg chg="mod ord topLvl">
          <ac:chgData name="Le Zhang (DCP)" userId="4093b8df-c45f-452e-86ba-4cdd8d4ea262" providerId="ADAL" clId="{8AD934B5-FF38-4F37-AC7C-0B7A9879673F}" dt="2020-08-04T17:46:59.461" v="297" actId="166"/>
          <ac:grpSpMkLst>
            <pc:docMk/>
            <pc:sldMk cId="2119415700" sldId="1132"/>
            <ac:grpSpMk id="38" creationId="{A148A6BF-0FCB-402E-92DF-B905255AB259}"/>
          </ac:grpSpMkLst>
        </pc:grpChg>
        <pc:graphicFrameChg chg="add mod">
          <ac:chgData name="Le Zhang (DCP)" userId="4093b8df-c45f-452e-86ba-4cdd8d4ea262" providerId="ADAL" clId="{8AD934B5-FF38-4F37-AC7C-0B7A9879673F}" dt="2020-08-04T18:09:37.579" v="408" actId="20577"/>
          <ac:graphicFrameMkLst>
            <pc:docMk/>
            <pc:sldMk cId="2119415700" sldId="1132"/>
            <ac:graphicFrameMk id="36" creationId="{6EE01F65-C05E-4B55-B047-75584D7D9BC1}"/>
          </ac:graphicFrameMkLst>
        </pc:graphicFrameChg>
        <pc:graphicFrameChg chg="add mod">
          <ac:chgData name="Le Zhang (DCP)" userId="4093b8df-c45f-452e-86ba-4cdd8d4ea262" providerId="ADAL" clId="{8AD934B5-FF38-4F37-AC7C-0B7A9879673F}" dt="2020-08-04T18:09:48.099" v="417" actId="20577"/>
          <ac:graphicFrameMkLst>
            <pc:docMk/>
            <pc:sldMk cId="2119415700" sldId="1132"/>
            <ac:graphicFrameMk id="37" creationId="{1AC6A982-45A5-4DE9-B6D3-61D0C02BA2A4}"/>
          </ac:graphicFrameMkLst>
        </pc:graphicFrameChg>
        <pc:graphicFrameChg chg="add mod">
          <ac:chgData name="Le Zhang (DCP)" userId="4093b8df-c45f-452e-86ba-4cdd8d4ea262" providerId="ADAL" clId="{8AD934B5-FF38-4F37-AC7C-0B7A9879673F}" dt="2020-08-04T18:09:53.911" v="431" actId="20577"/>
          <ac:graphicFrameMkLst>
            <pc:docMk/>
            <pc:sldMk cId="2119415700" sldId="1132"/>
            <ac:graphicFrameMk id="41" creationId="{9689F4F4-5529-40D5-B758-6845D3E69E4A}"/>
          </ac:graphicFrameMkLst>
        </pc:graphicFrameChg>
        <pc:graphicFrameChg chg="del">
          <ac:chgData name="Le Zhang (DCP)" userId="4093b8df-c45f-452e-86ba-4cdd8d4ea262" providerId="ADAL" clId="{8AD934B5-FF38-4F37-AC7C-0B7A9879673F}" dt="2020-08-04T17:48:58.749" v="330" actId="478"/>
          <ac:graphicFrameMkLst>
            <pc:docMk/>
            <pc:sldMk cId="2119415700" sldId="1132"/>
            <ac:graphicFrameMk id="47" creationId="{9ECF09B4-59DC-4D7B-B17E-1949A37DC1AD}"/>
          </ac:graphicFrameMkLst>
        </pc:graphicFrameChg>
        <pc:graphicFrameChg chg="del">
          <ac:chgData name="Le Zhang (DCP)" userId="4093b8df-c45f-452e-86ba-4cdd8d4ea262" providerId="ADAL" clId="{8AD934B5-FF38-4F37-AC7C-0B7A9879673F}" dt="2020-08-04T17:46:19.352" v="281" actId="478"/>
          <ac:graphicFrameMkLst>
            <pc:docMk/>
            <pc:sldMk cId="2119415700" sldId="1132"/>
            <ac:graphicFrameMk id="49" creationId="{C9D40334-7674-4793-B11B-A6EA8E8C4416}"/>
          </ac:graphicFrameMkLst>
        </pc:graphicFrameChg>
        <pc:graphicFrameChg chg="del">
          <ac:chgData name="Le Zhang (DCP)" userId="4093b8df-c45f-452e-86ba-4cdd8d4ea262" providerId="ADAL" clId="{8AD934B5-FF38-4F37-AC7C-0B7A9879673F}" dt="2020-08-04T17:47:19.312" v="299" actId="478"/>
          <ac:graphicFrameMkLst>
            <pc:docMk/>
            <pc:sldMk cId="2119415700" sldId="1132"/>
            <ac:graphicFrameMk id="50" creationId="{2A7D6FA0-5662-4873-90EB-0C8F8FC7F8EA}"/>
          </ac:graphicFrameMkLst>
        </pc:graphicFrameChg>
        <pc:cxnChg chg="mod">
          <ac:chgData name="Le Zhang (DCP)" userId="4093b8df-c45f-452e-86ba-4cdd8d4ea262" providerId="ADAL" clId="{8AD934B5-FF38-4F37-AC7C-0B7A9879673F}" dt="2020-08-04T17:54:37.882" v="358" actId="14100"/>
          <ac:cxnSpMkLst>
            <pc:docMk/>
            <pc:sldMk cId="2119415700" sldId="1132"/>
            <ac:cxnSpMk id="23" creationId="{7C2B7576-953B-4998-8B1B-3C1A1B5D7F50}"/>
          </ac:cxnSpMkLst>
        </pc:cxnChg>
        <pc:cxnChg chg="mod">
          <ac:chgData name="Le Zhang (DCP)" userId="4093b8df-c45f-452e-86ba-4cdd8d4ea262" providerId="ADAL" clId="{8AD934B5-FF38-4F37-AC7C-0B7A9879673F}" dt="2020-08-04T17:48:19.542" v="311" actId="14100"/>
          <ac:cxnSpMkLst>
            <pc:docMk/>
            <pc:sldMk cId="2119415700" sldId="1132"/>
            <ac:cxnSpMk id="45" creationId="{918D82A6-8BFE-49A3-94B9-0BA720F362FE}"/>
          </ac:cxnSpMkLst>
        </pc:cxnChg>
      </pc:sldChg>
      <pc:sldChg chg="addSp delSp modSp mod">
        <pc:chgData name="Le Zhang (DCP)" userId="4093b8df-c45f-452e-86ba-4cdd8d4ea262" providerId="ADAL" clId="{8AD934B5-FF38-4F37-AC7C-0B7A9879673F}" dt="2020-08-04T19:00:00.744" v="652"/>
        <pc:sldMkLst>
          <pc:docMk/>
          <pc:sldMk cId="3089150047" sldId="1133"/>
        </pc:sldMkLst>
        <pc:spChg chg="mod">
          <ac:chgData name="Le Zhang (DCP)" userId="4093b8df-c45f-452e-86ba-4cdd8d4ea262" providerId="ADAL" clId="{8AD934B5-FF38-4F37-AC7C-0B7A9879673F}" dt="2020-08-03T13:53:15.491" v="32" actId="20577"/>
          <ac:spMkLst>
            <pc:docMk/>
            <pc:sldMk cId="3089150047" sldId="1133"/>
            <ac:spMk id="2" creationId="{1240F7AE-FDAF-4042-9B2D-27BF33203725}"/>
          </ac:spMkLst>
        </pc:spChg>
        <pc:spChg chg="del">
          <ac:chgData name="Le Zhang (DCP)" userId="4093b8df-c45f-452e-86ba-4cdd8d4ea262" providerId="ADAL" clId="{8AD934B5-FF38-4F37-AC7C-0B7A9879673F}" dt="2020-08-04T18:08:12.963" v="359" actId="478"/>
          <ac:spMkLst>
            <pc:docMk/>
            <pc:sldMk cId="3089150047" sldId="1133"/>
            <ac:spMk id="6" creationId="{7460E582-0E81-4C38-B136-31E6CCE0F130}"/>
          </ac:spMkLst>
        </pc:spChg>
        <pc:spChg chg="mod">
          <ac:chgData name="Le Zhang (DCP)" userId="4093b8df-c45f-452e-86ba-4cdd8d4ea262" providerId="ADAL" clId="{8AD934B5-FF38-4F37-AC7C-0B7A9879673F}" dt="2020-08-04T19:00:00.744" v="652"/>
          <ac:spMkLst>
            <pc:docMk/>
            <pc:sldMk cId="3089150047" sldId="1133"/>
            <ac:spMk id="18" creationId="{4B400C07-9027-4C73-9C4E-038FC4557A14}"/>
          </ac:spMkLst>
        </pc:spChg>
        <pc:spChg chg="del topLvl">
          <ac:chgData name="Le Zhang (DCP)" userId="4093b8df-c45f-452e-86ba-4cdd8d4ea262" providerId="ADAL" clId="{8AD934B5-FF38-4F37-AC7C-0B7A9879673F}" dt="2020-08-04T18:08:48.402" v="376" actId="478"/>
          <ac:spMkLst>
            <pc:docMk/>
            <pc:sldMk cId="3089150047" sldId="1133"/>
            <ac:spMk id="30" creationId="{94EFE761-FD16-48E0-933F-AD68746AB657}"/>
          </ac:spMkLst>
        </pc:spChg>
        <pc:spChg chg="del">
          <ac:chgData name="Le Zhang (DCP)" userId="4093b8df-c45f-452e-86ba-4cdd8d4ea262" providerId="ADAL" clId="{8AD934B5-FF38-4F37-AC7C-0B7A9879673F}" dt="2020-08-04T18:08:46.881" v="375" actId="478"/>
          <ac:spMkLst>
            <pc:docMk/>
            <pc:sldMk cId="3089150047" sldId="1133"/>
            <ac:spMk id="31" creationId="{0BF07143-E56E-40FA-9849-54DC7832BB78}"/>
          </ac:spMkLst>
        </pc:spChg>
        <pc:spChg chg="del">
          <ac:chgData name="Le Zhang (DCP)" userId="4093b8df-c45f-452e-86ba-4cdd8d4ea262" providerId="ADAL" clId="{8AD934B5-FF38-4F37-AC7C-0B7A9879673F}" dt="2020-08-04T18:08:45.349" v="374" actId="478"/>
          <ac:spMkLst>
            <pc:docMk/>
            <pc:sldMk cId="3089150047" sldId="1133"/>
            <ac:spMk id="32" creationId="{4A9D15F8-3390-45AE-BEF1-6CD30E8208A6}"/>
          </ac:spMkLst>
        </pc:spChg>
        <pc:spChg chg="del mod">
          <ac:chgData name="Le Zhang (DCP)" userId="4093b8df-c45f-452e-86ba-4cdd8d4ea262" providerId="ADAL" clId="{8AD934B5-FF38-4F37-AC7C-0B7A9879673F}" dt="2020-08-04T18:08:39.202" v="370" actId="478"/>
          <ac:spMkLst>
            <pc:docMk/>
            <pc:sldMk cId="3089150047" sldId="1133"/>
            <ac:spMk id="33" creationId="{6940218C-8629-4C01-8501-CC380A5F2E2B}"/>
          </ac:spMkLst>
        </pc:spChg>
        <pc:spChg chg="del mod">
          <ac:chgData name="Le Zhang (DCP)" userId="4093b8df-c45f-452e-86ba-4cdd8d4ea262" providerId="ADAL" clId="{8AD934B5-FF38-4F37-AC7C-0B7A9879673F}" dt="2020-08-04T18:08:41.389" v="371" actId="478"/>
          <ac:spMkLst>
            <pc:docMk/>
            <pc:sldMk cId="3089150047" sldId="1133"/>
            <ac:spMk id="34" creationId="{EB37EFAB-7DC3-4863-959A-C09E68B63594}"/>
          </ac:spMkLst>
        </pc:spChg>
        <pc:spChg chg="del">
          <ac:chgData name="Le Zhang (DCP)" userId="4093b8df-c45f-452e-86ba-4cdd8d4ea262" providerId="ADAL" clId="{8AD934B5-FF38-4F37-AC7C-0B7A9879673F}" dt="2020-08-04T18:08:36.625" v="367" actId="478"/>
          <ac:spMkLst>
            <pc:docMk/>
            <pc:sldMk cId="3089150047" sldId="1133"/>
            <ac:spMk id="35" creationId="{4C2FC8C1-9DF4-40FB-89A2-1816329ABBD9}"/>
          </ac:spMkLst>
        </pc:spChg>
        <pc:spChg chg="mod">
          <ac:chgData name="Le Zhang (DCP)" userId="4093b8df-c45f-452e-86ba-4cdd8d4ea262" providerId="ADAL" clId="{8AD934B5-FF38-4F37-AC7C-0B7A9879673F}" dt="2020-08-04T18:47:48.029" v="455" actId="20577"/>
          <ac:spMkLst>
            <pc:docMk/>
            <pc:sldMk cId="3089150047" sldId="1133"/>
            <ac:spMk id="46" creationId="{D7B7A9D9-72DC-4C15-A101-5CF60024CF42}"/>
          </ac:spMkLst>
        </pc:spChg>
        <pc:spChg chg="del mod topLvl">
          <ac:chgData name="Le Zhang (DCP)" userId="4093b8df-c45f-452e-86ba-4cdd8d4ea262" providerId="ADAL" clId="{8AD934B5-FF38-4F37-AC7C-0B7A9879673F}" dt="2020-08-04T18:08:43.914" v="373" actId="478"/>
          <ac:spMkLst>
            <pc:docMk/>
            <pc:sldMk cId="3089150047" sldId="1133"/>
            <ac:spMk id="48" creationId="{F1DD7476-BCD6-4063-840E-32EA2BC5AD01}"/>
          </ac:spMkLst>
        </pc:spChg>
        <pc:grpChg chg="del">
          <ac:chgData name="Le Zhang (DCP)" userId="4093b8df-c45f-452e-86ba-4cdd8d4ea262" providerId="ADAL" clId="{8AD934B5-FF38-4F37-AC7C-0B7A9879673F}" dt="2020-08-04T18:08:43.914" v="373" actId="478"/>
          <ac:grpSpMkLst>
            <pc:docMk/>
            <pc:sldMk cId="3089150047" sldId="1133"/>
            <ac:grpSpMk id="3" creationId="{887DC773-55F1-4473-9B31-7F07D553A240}"/>
          </ac:grpSpMkLst>
        </pc:grpChg>
        <pc:grpChg chg="mod">
          <ac:chgData name="Le Zhang (DCP)" userId="4093b8df-c45f-452e-86ba-4cdd8d4ea262" providerId="ADAL" clId="{8AD934B5-FF38-4F37-AC7C-0B7A9879673F}" dt="2020-08-04T18:10:35.968" v="439" actId="1076"/>
          <ac:grpSpMkLst>
            <pc:docMk/>
            <pc:sldMk cId="3089150047" sldId="1133"/>
            <ac:grpSpMk id="14" creationId="{51D7E514-97F9-4E49-8257-3A7C5D002E4B}"/>
          </ac:grpSpMkLst>
        </pc:grpChg>
        <pc:grpChg chg="mod">
          <ac:chgData name="Le Zhang (DCP)" userId="4093b8df-c45f-452e-86ba-4cdd8d4ea262" providerId="ADAL" clId="{8AD934B5-FF38-4F37-AC7C-0B7A9879673F}" dt="2020-08-04T18:49:32.307" v="478" actId="1037"/>
          <ac:grpSpMkLst>
            <pc:docMk/>
            <pc:sldMk cId="3089150047" sldId="1133"/>
            <ac:grpSpMk id="21" creationId="{D731847C-4DBE-4AE5-B7E7-BC7A44AC83FE}"/>
          </ac:grpSpMkLst>
        </pc:grpChg>
        <pc:grpChg chg="del topLvl">
          <ac:chgData name="Le Zhang (DCP)" userId="4093b8df-c45f-452e-86ba-4cdd8d4ea262" providerId="ADAL" clId="{8AD934B5-FF38-4F37-AC7C-0B7A9879673F}" dt="2020-08-04T18:08:48.402" v="376" actId="478"/>
          <ac:grpSpMkLst>
            <pc:docMk/>
            <pc:sldMk cId="3089150047" sldId="1133"/>
            <ac:grpSpMk id="25" creationId="{5BABA797-0DCD-4E58-9609-E0B0D33B5F04}"/>
          </ac:grpSpMkLst>
        </pc:grpChg>
        <pc:grpChg chg="del">
          <ac:chgData name="Le Zhang (DCP)" userId="4093b8df-c45f-452e-86ba-4cdd8d4ea262" providerId="ADAL" clId="{8AD934B5-FF38-4F37-AC7C-0B7A9879673F}" dt="2020-08-04T18:08:46.881" v="375" actId="478"/>
          <ac:grpSpMkLst>
            <pc:docMk/>
            <pc:sldMk cId="3089150047" sldId="1133"/>
            <ac:grpSpMk id="27" creationId="{3795B927-32AF-48BE-8D06-B3FA72EA010A}"/>
          </ac:grpSpMkLst>
        </pc:grpChg>
        <pc:grpChg chg="topLvl">
          <ac:chgData name="Le Zhang (DCP)" userId="4093b8df-c45f-452e-86ba-4cdd8d4ea262" providerId="ADAL" clId="{8AD934B5-FF38-4F37-AC7C-0B7A9879673F}" dt="2020-08-04T18:08:48.402" v="376" actId="478"/>
          <ac:grpSpMkLst>
            <pc:docMk/>
            <pc:sldMk cId="3089150047" sldId="1133"/>
            <ac:grpSpMk id="38" creationId="{A148A6BF-0FCB-402E-92DF-B905255AB259}"/>
          </ac:grpSpMkLst>
        </pc:grpChg>
        <pc:graphicFrameChg chg="add mod">
          <ac:chgData name="Le Zhang (DCP)" userId="4093b8df-c45f-452e-86ba-4cdd8d4ea262" providerId="ADAL" clId="{8AD934B5-FF38-4F37-AC7C-0B7A9879673F}" dt="2020-08-04T18:09:10.391" v="400" actId="1076"/>
          <ac:graphicFrameMkLst>
            <pc:docMk/>
            <pc:sldMk cId="3089150047" sldId="1133"/>
            <ac:graphicFrameMk id="36" creationId="{DF86A07E-4B0D-4618-A232-8235387F46E3}"/>
          </ac:graphicFrameMkLst>
        </pc:graphicFrameChg>
        <pc:graphicFrameChg chg="add mod">
          <ac:chgData name="Le Zhang (DCP)" userId="4093b8df-c45f-452e-86ba-4cdd8d4ea262" providerId="ADAL" clId="{8AD934B5-FF38-4F37-AC7C-0B7A9879673F}" dt="2020-08-04T18:49:04.032" v="466" actId="14100"/>
          <ac:graphicFrameMkLst>
            <pc:docMk/>
            <pc:sldMk cId="3089150047" sldId="1133"/>
            <ac:graphicFrameMk id="37" creationId="{21F47372-52F3-4244-87C9-E8A5641AE3E9}"/>
          </ac:graphicFrameMkLst>
        </pc:graphicFrameChg>
        <pc:graphicFrameChg chg="add mod">
          <ac:chgData name="Le Zhang (DCP)" userId="4093b8df-c45f-452e-86ba-4cdd8d4ea262" providerId="ADAL" clId="{8AD934B5-FF38-4F37-AC7C-0B7A9879673F}" dt="2020-08-04T18:49:53.403" v="481" actId="14838"/>
          <ac:graphicFrameMkLst>
            <pc:docMk/>
            <pc:sldMk cId="3089150047" sldId="1133"/>
            <ac:graphicFrameMk id="41" creationId="{3714D33F-2051-421C-ADBB-F0193AC3F7AB}"/>
          </ac:graphicFrameMkLst>
        </pc:graphicFrameChg>
        <pc:graphicFrameChg chg="del">
          <ac:chgData name="Le Zhang (DCP)" userId="4093b8df-c45f-452e-86ba-4cdd8d4ea262" providerId="ADAL" clId="{8AD934B5-FF38-4F37-AC7C-0B7A9879673F}" dt="2020-08-04T18:47:53.933" v="456" actId="478"/>
          <ac:graphicFrameMkLst>
            <pc:docMk/>
            <pc:sldMk cId="3089150047" sldId="1133"/>
            <ac:graphicFrameMk id="47" creationId="{9ECF09B4-59DC-4D7B-B17E-1949A37DC1AD}"/>
          </ac:graphicFrameMkLst>
        </pc:graphicFrameChg>
        <pc:graphicFrameChg chg="del">
          <ac:chgData name="Le Zhang (DCP)" userId="4093b8df-c45f-452e-86ba-4cdd8d4ea262" providerId="ADAL" clId="{8AD934B5-FF38-4F37-AC7C-0B7A9879673F}" dt="2020-08-04T18:08:15.502" v="360" actId="478"/>
          <ac:graphicFrameMkLst>
            <pc:docMk/>
            <pc:sldMk cId="3089150047" sldId="1133"/>
            <ac:graphicFrameMk id="49" creationId="{C9D40334-7674-4793-B11B-A6EA8E8C4416}"/>
          </ac:graphicFrameMkLst>
        </pc:graphicFrameChg>
        <pc:graphicFrameChg chg="del">
          <ac:chgData name="Le Zhang (DCP)" userId="4093b8df-c45f-452e-86ba-4cdd8d4ea262" providerId="ADAL" clId="{8AD934B5-FF38-4F37-AC7C-0B7A9879673F}" dt="2020-08-04T18:10:04.911" v="432" actId="478"/>
          <ac:graphicFrameMkLst>
            <pc:docMk/>
            <pc:sldMk cId="3089150047" sldId="1133"/>
            <ac:graphicFrameMk id="50" creationId="{2A7D6FA0-5662-4873-90EB-0C8F8FC7F8EA}"/>
          </ac:graphicFrameMkLst>
        </pc:graphicFrameChg>
        <pc:cxnChg chg="mod">
          <ac:chgData name="Le Zhang (DCP)" userId="4093b8df-c45f-452e-86ba-4cdd8d4ea262" providerId="ADAL" clId="{8AD934B5-FF38-4F37-AC7C-0B7A9879673F}" dt="2020-08-04T18:50:43.907" v="486" actId="1035"/>
          <ac:cxnSpMkLst>
            <pc:docMk/>
            <pc:sldMk cId="3089150047" sldId="1133"/>
            <ac:cxnSpMk id="23" creationId="{7C2B7576-953B-4998-8B1B-3C1A1B5D7F50}"/>
          </ac:cxnSpMkLst>
        </pc:cxnChg>
        <pc:cxnChg chg="mod">
          <ac:chgData name="Le Zhang (DCP)" userId="4093b8df-c45f-452e-86ba-4cdd8d4ea262" providerId="ADAL" clId="{8AD934B5-FF38-4F37-AC7C-0B7A9879673F}" dt="2020-08-04T18:09:16.730" v="406" actId="1035"/>
          <ac:cxnSpMkLst>
            <pc:docMk/>
            <pc:sldMk cId="3089150047" sldId="1133"/>
            <ac:cxnSpMk id="39" creationId="{9EFFE4AE-851E-4579-9EFE-99E2D84194BA}"/>
          </ac:cxnSpMkLst>
        </pc:cxnChg>
        <pc:cxnChg chg="mod">
          <ac:chgData name="Le Zhang (DCP)" userId="4093b8df-c45f-452e-86ba-4cdd8d4ea262" providerId="ADAL" clId="{8AD934B5-FF38-4F37-AC7C-0B7A9879673F}" dt="2020-08-04T18:10:49.810" v="440" actId="14100"/>
          <ac:cxnSpMkLst>
            <pc:docMk/>
            <pc:sldMk cId="3089150047" sldId="1133"/>
            <ac:cxnSpMk id="45" creationId="{918D82A6-8BFE-49A3-94B9-0BA720F362FE}"/>
          </ac:cxnSpMkLst>
        </pc:cxnChg>
      </pc:sldChg>
      <pc:sldMasterChg chg="modSp">
        <pc:chgData name="Le Zhang (DCP)" userId="4093b8df-c45f-452e-86ba-4cdd8d4ea262" providerId="ADAL" clId="{8AD934B5-FF38-4F37-AC7C-0B7A9879673F}" dt="2020-08-03T13:52:12.258" v="18" actId="14100"/>
        <pc:sldMasterMkLst>
          <pc:docMk/>
          <pc:sldMasterMk cId="0" sldId="2147483660"/>
        </pc:sldMasterMkLst>
        <pc:spChg chg="mod">
          <ac:chgData name="Le Zhang (DCP)" userId="4093b8df-c45f-452e-86ba-4cdd8d4ea262" providerId="ADAL" clId="{8AD934B5-FF38-4F37-AC7C-0B7A9879673F}" dt="2020-08-03T13:52:12.258" v="18" actId="14100"/>
          <ac:spMkLst>
            <pc:docMk/>
            <pc:sldMasterMk cId="0" sldId="2147483660"/>
            <ac:spMk id="8" creationId="{892C32C2-73D7-45DA-8755-2A0C4259CF1E}"/>
          </ac:spMkLst>
        </pc:spChg>
      </pc:sldMasterChg>
    </pc:docChg>
  </pc:docChgLst>
  <pc:docChgLst>
    <pc:chgData name="Stephane Pierre (DCP)" userId="dc8579c3-b9ad-4a00-a438-b4c77f165554" providerId="ADAL" clId="{34224A5E-F6A2-2540-B07A-51614F20A502}"/>
    <pc:docChg chg="custSel modSld">
      <pc:chgData name="Stephane Pierre (DCP)" userId="dc8579c3-b9ad-4a00-a438-b4c77f165554" providerId="ADAL" clId="{34224A5E-F6A2-2540-B07A-51614F20A502}" dt="2020-08-04T14:38:40.802" v="513" actId="14100"/>
      <pc:docMkLst>
        <pc:docMk/>
      </pc:docMkLst>
      <pc:sldChg chg="addSp delSp modSp mod">
        <pc:chgData name="Stephane Pierre (DCP)" userId="dc8579c3-b9ad-4a00-a438-b4c77f165554" providerId="ADAL" clId="{34224A5E-F6A2-2540-B07A-51614F20A502}" dt="2020-08-04T14:38:40.802" v="513" actId="14100"/>
        <pc:sldMkLst>
          <pc:docMk/>
          <pc:sldMk cId="1519931681" sldId="923"/>
        </pc:sldMkLst>
        <pc:spChg chg="mod">
          <ac:chgData name="Stephane Pierre (DCP)" userId="dc8579c3-b9ad-4a00-a438-b4c77f165554" providerId="ADAL" clId="{34224A5E-F6A2-2540-B07A-51614F20A502}" dt="2020-08-04T14:38:21.938" v="512" actId="1076"/>
          <ac:spMkLst>
            <pc:docMk/>
            <pc:sldMk cId="1519931681" sldId="923"/>
            <ac:spMk id="3" creationId="{1EAE4D21-EE8B-B54C-98EF-002EA66A340A}"/>
          </ac:spMkLst>
        </pc:spChg>
        <pc:spChg chg="mod">
          <ac:chgData name="Stephane Pierre (DCP)" userId="dc8579c3-b9ad-4a00-a438-b4c77f165554" providerId="ADAL" clId="{34224A5E-F6A2-2540-B07A-51614F20A502}" dt="2020-08-04T14:38:16.472" v="511" actId="1076"/>
          <ac:spMkLst>
            <pc:docMk/>
            <pc:sldMk cId="1519931681" sldId="923"/>
            <ac:spMk id="13" creationId="{174F846C-5F73-894A-A1AF-0A935B8139E2}"/>
          </ac:spMkLst>
        </pc:spChg>
        <pc:spChg chg="mod">
          <ac:chgData name="Stephane Pierre (DCP)" userId="dc8579c3-b9ad-4a00-a438-b4c77f165554" providerId="ADAL" clId="{34224A5E-F6A2-2540-B07A-51614F20A502}" dt="2020-08-04T13:39:50.603" v="509" actId="1076"/>
          <ac:spMkLst>
            <pc:docMk/>
            <pc:sldMk cId="1519931681" sldId="923"/>
            <ac:spMk id="14" creationId="{149DA6FF-5364-1E48-893B-A163FFAF975B}"/>
          </ac:spMkLst>
        </pc:spChg>
        <pc:spChg chg="mod">
          <ac:chgData name="Stephane Pierre (DCP)" userId="dc8579c3-b9ad-4a00-a438-b4c77f165554" providerId="ADAL" clId="{34224A5E-F6A2-2540-B07A-51614F20A502}" dt="2020-08-03T20:33:31.958" v="415" actId="1076"/>
          <ac:spMkLst>
            <pc:docMk/>
            <pc:sldMk cId="1519931681" sldId="923"/>
            <ac:spMk id="15" creationId="{981C1DE0-82FF-AB4F-B94E-89088541BAE7}"/>
          </ac:spMkLst>
        </pc:spChg>
        <pc:spChg chg="del mod">
          <ac:chgData name="Stephane Pierre (DCP)" userId="dc8579c3-b9ad-4a00-a438-b4c77f165554" providerId="ADAL" clId="{34224A5E-F6A2-2540-B07A-51614F20A502}" dt="2020-08-04T13:39:53.113" v="510" actId="478"/>
          <ac:spMkLst>
            <pc:docMk/>
            <pc:sldMk cId="1519931681" sldId="923"/>
            <ac:spMk id="17" creationId="{C50F9D1D-508C-4DA9-BA5A-2366E1754C41}"/>
          </ac:spMkLst>
        </pc:spChg>
        <pc:spChg chg="mod">
          <ac:chgData name="Stephane Pierre (DCP)" userId="dc8579c3-b9ad-4a00-a438-b4c77f165554" providerId="ADAL" clId="{34224A5E-F6A2-2540-B07A-51614F20A502}" dt="2020-08-04T13:39:38.593" v="508" actId="13926"/>
          <ac:spMkLst>
            <pc:docMk/>
            <pc:sldMk cId="1519931681" sldId="923"/>
            <ac:spMk id="25" creationId="{13B87C1F-74FA-7648-A5E7-2CB01BB275C1}"/>
          </ac:spMkLst>
        </pc:spChg>
        <pc:graphicFrameChg chg="add mod">
          <ac:chgData name="Stephane Pierre (DCP)" userId="dc8579c3-b9ad-4a00-a438-b4c77f165554" providerId="ADAL" clId="{34224A5E-F6A2-2540-B07A-51614F20A502}" dt="2020-08-03T20:17:13.962" v="384" actId="14100"/>
          <ac:graphicFrameMkLst>
            <pc:docMk/>
            <pc:sldMk cId="1519931681" sldId="923"/>
            <ac:graphicFrameMk id="18" creationId="{1CC46FE6-FAD9-9342-A3CD-D968E9257405}"/>
          </ac:graphicFrameMkLst>
        </pc:graphicFrameChg>
        <pc:graphicFrameChg chg="add del mod">
          <ac:chgData name="Stephane Pierre (DCP)" userId="dc8579c3-b9ad-4a00-a438-b4c77f165554" providerId="ADAL" clId="{34224A5E-F6A2-2540-B07A-51614F20A502}" dt="2020-08-03T17:28:11.129" v="15" actId="478"/>
          <ac:graphicFrameMkLst>
            <pc:docMk/>
            <pc:sldMk cId="1519931681" sldId="923"/>
            <ac:graphicFrameMk id="18" creationId="{A02ADCAF-7863-324A-9F02-208B1F40E7D2}"/>
          </ac:graphicFrameMkLst>
        </pc:graphicFrameChg>
        <pc:graphicFrameChg chg="add mod">
          <ac:chgData name="Stephane Pierre (DCP)" userId="dc8579c3-b9ad-4a00-a438-b4c77f165554" providerId="ADAL" clId="{34224A5E-F6A2-2540-B07A-51614F20A502}" dt="2020-08-04T14:38:40.802" v="513" actId="14100"/>
          <ac:graphicFrameMkLst>
            <pc:docMk/>
            <pc:sldMk cId="1519931681" sldId="923"/>
            <ac:graphicFrameMk id="19" creationId="{A02ADCAF-7863-324A-9F02-208B1F40E7D2}"/>
          </ac:graphicFrameMkLst>
        </pc:graphicFrameChg>
        <pc:graphicFrameChg chg="del mod">
          <ac:chgData name="Stephane Pierre (DCP)" userId="dc8579c3-b9ad-4a00-a438-b4c77f165554" providerId="ADAL" clId="{34224A5E-F6A2-2540-B07A-51614F20A502}" dt="2020-08-03T17:22:48.742" v="3" actId="478"/>
          <ac:graphicFrameMkLst>
            <pc:docMk/>
            <pc:sldMk cId="1519931681" sldId="923"/>
            <ac:graphicFrameMk id="20" creationId="{A02ADCAF-7863-324A-9F02-208B1F40E7D2}"/>
          </ac:graphicFrameMkLst>
        </pc:graphicFrameChg>
        <pc:graphicFrameChg chg="add mod">
          <ac:chgData name="Stephane Pierre (DCP)" userId="dc8579c3-b9ad-4a00-a438-b4c77f165554" providerId="ADAL" clId="{34224A5E-F6A2-2540-B07A-51614F20A502}" dt="2020-08-03T20:32:51.429" v="410" actId="167"/>
          <ac:graphicFrameMkLst>
            <pc:docMk/>
            <pc:sldMk cId="1519931681" sldId="923"/>
            <ac:graphicFrameMk id="20" creationId="{D3DAB570-D2CD-544C-A4A8-FB4FEDBB4B58}"/>
          </ac:graphicFrameMkLst>
        </pc:graphicFrameChg>
        <pc:graphicFrameChg chg="del mod">
          <ac:chgData name="Stephane Pierre (DCP)" userId="dc8579c3-b9ad-4a00-a438-b4c77f165554" providerId="ADAL" clId="{34224A5E-F6A2-2540-B07A-51614F20A502}" dt="2020-08-03T20:13:22.845" v="376" actId="478"/>
          <ac:graphicFrameMkLst>
            <pc:docMk/>
            <pc:sldMk cId="1519931681" sldId="923"/>
            <ac:graphicFrameMk id="21" creationId="{1CC46FE6-FAD9-9342-A3CD-D968E9257405}"/>
          </ac:graphicFrameMkLst>
        </pc:graphicFrameChg>
        <pc:graphicFrameChg chg="del mod">
          <ac:chgData name="Stephane Pierre (DCP)" userId="dc8579c3-b9ad-4a00-a438-b4c77f165554" providerId="ADAL" clId="{34224A5E-F6A2-2540-B07A-51614F20A502}" dt="2020-08-03T20:31:21.612" v="401" actId="478"/>
          <ac:graphicFrameMkLst>
            <pc:docMk/>
            <pc:sldMk cId="1519931681" sldId="923"/>
            <ac:graphicFrameMk id="22" creationId="{8388A7B2-FE1D-6B45-9086-AED40B374298}"/>
          </ac:graphicFrameMkLst>
        </pc:graphicFrameChg>
        <pc:cxnChg chg="del">
          <ac:chgData name="Stephane Pierre (DCP)" userId="dc8579c3-b9ad-4a00-a438-b4c77f165554" providerId="ADAL" clId="{34224A5E-F6A2-2540-B07A-51614F20A502}" dt="2020-08-03T20:14:27.595" v="379" actId="478"/>
          <ac:cxnSpMkLst>
            <pc:docMk/>
            <pc:sldMk cId="1519931681" sldId="923"/>
            <ac:cxnSpMk id="16" creationId="{D09CC458-DFA6-FC47-855B-DF85E4EE94AA}"/>
          </ac:cxnSpMkLst>
        </pc:cxnChg>
      </pc:sldChg>
    </pc:docChg>
  </pc:docChgLst>
  <pc:docChgLst>
    <pc:chgData clId="Web-{15D117B0-5E0E-015C-0FE9-B1B5F1D12552}"/>
    <pc:docChg chg="modSld">
      <pc:chgData name="" userId="" providerId="" clId="Web-{15D117B0-5E0E-015C-0FE9-B1B5F1D12552}" dt="2020-07-07T23:36:34.354" v="13"/>
      <pc:docMkLst>
        <pc:docMk/>
      </pc:docMkLst>
      <pc:sldChg chg="addCm">
        <pc:chgData name="" userId="" providerId="" clId="Web-{15D117B0-5E0E-015C-0FE9-B1B5F1D12552}" dt="2020-07-07T23:36:34.354" v="13"/>
        <pc:sldMkLst>
          <pc:docMk/>
          <pc:sldMk cId="3417640896" sldId="660"/>
        </pc:sldMkLst>
      </pc:sldChg>
      <pc:sldChg chg="addCm">
        <pc:chgData name="" userId="" providerId="" clId="Web-{15D117B0-5E0E-015C-0FE9-B1B5F1D12552}" dt="2020-07-07T23:04:16.789" v="0"/>
        <pc:sldMkLst>
          <pc:docMk/>
          <pc:sldMk cId="3893609620" sldId="945"/>
        </pc:sldMkLst>
      </pc:sldChg>
      <pc:sldChg chg="addCm">
        <pc:chgData name="" userId="" providerId="" clId="Web-{15D117B0-5E0E-015C-0FE9-B1B5F1D12552}" dt="2020-07-07T23:10:35.936" v="5"/>
        <pc:sldMkLst>
          <pc:docMk/>
          <pc:sldMk cId="1049441131" sldId="1040"/>
        </pc:sldMkLst>
      </pc:sldChg>
    </pc:docChg>
  </pc:docChgLst>
  <pc:docChgLst>
    <pc:chgData clId="Web-{69C0EC6F-04FF-E9E6-3B01-0DFB900B0CAE}"/>
    <pc:docChg chg="modSld">
      <pc:chgData name="" userId="" providerId="" clId="Web-{69C0EC6F-04FF-E9E6-3B01-0DFB900B0CAE}" dt="2020-07-07T22:50:11.301" v="31" actId="1076"/>
      <pc:docMkLst>
        <pc:docMk/>
      </pc:docMkLst>
    </pc:docChg>
  </pc:docChgLst>
  <pc:docChgLst>
    <pc:chgData name="Le Zhang (DCP)" userId="4093b8df-c45f-452e-86ba-4cdd8d4ea262" providerId="ADAL" clId="{D9B83503-50A2-400D-8DE0-0E44DB81DEFB}"/>
    <pc:docChg chg="undo custSel modSld modMainMaster">
      <pc:chgData name="Le Zhang (DCP)" userId="4093b8df-c45f-452e-86ba-4cdd8d4ea262" providerId="ADAL" clId="{D9B83503-50A2-400D-8DE0-0E44DB81DEFB}" dt="2020-07-14T22:55:24.981" v="510" actId="1076"/>
      <pc:docMkLst>
        <pc:docMk/>
      </pc:docMkLst>
      <pc:sldChg chg="modSp">
        <pc:chgData name="Le Zhang (DCP)" userId="4093b8df-c45f-452e-86ba-4cdd8d4ea262" providerId="ADAL" clId="{D9B83503-50A2-400D-8DE0-0E44DB81DEFB}" dt="2020-07-08T02:48:20.153" v="2" actId="20577"/>
        <pc:sldMkLst>
          <pc:docMk/>
          <pc:sldMk cId="866642221" sldId="604"/>
        </pc:sldMkLst>
        <pc:spChg chg="mod">
          <ac:chgData name="Le Zhang (DCP)" userId="4093b8df-c45f-452e-86ba-4cdd8d4ea262" providerId="ADAL" clId="{D9B83503-50A2-400D-8DE0-0E44DB81DEFB}" dt="2020-07-08T02:48:20.153" v="2" actId="20577"/>
          <ac:spMkLst>
            <pc:docMk/>
            <pc:sldMk cId="866642221" sldId="604"/>
            <ac:spMk id="4" creationId="{00000000-0000-0000-0000-000000000000}"/>
          </ac:spMkLst>
        </pc:spChg>
      </pc:sldChg>
      <pc:sldChg chg="addSp delSp modSp mod">
        <pc:chgData name="Le Zhang (DCP)" userId="4093b8df-c45f-452e-86ba-4cdd8d4ea262" providerId="ADAL" clId="{D9B83503-50A2-400D-8DE0-0E44DB81DEFB}" dt="2020-07-14T22:55:24.981" v="510" actId="1076"/>
        <pc:sldMkLst>
          <pc:docMk/>
          <pc:sldMk cId="3893609620" sldId="945"/>
        </pc:sldMkLst>
        <pc:spChg chg="mod">
          <ac:chgData name="Le Zhang (DCP)" userId="4093b8df-c45f-452e-86ba-4cdd8d4ea262" providerId="ADAL" clId="{D9B83503-50A2-400D-8DE0-0E44DB81DEFB}" dt="2020-07-14T22:55:24.981" v="510" actId="1076"/>
          <ac:spMkLst>
            <pc:docMk/>
            <pc:sldMk cId="3893609620" sldId="945"/>
            <ac:spMk id="6" creationId="{7149FE0C-7597-4A77-B45B-9B8E1AA76B0A}"/>
          </ac:spMkLst>
        </pc:spChg>
        <pc:spChg chg="mod">
          <ac:chgData name="Le Zhang (DCP)" userId="4093b8df-c45f-452e-86ba-4cdd8d4ea262" providerId="ADAL" clId="{D9B83503-50A2-400D-8DE0-0E44DB81DEFB}" dt="2020-07-14T22:54:00.979" v="509" actId="1076"/>
          <ac:spMkLst>
            <pc:docMk/>
            <pc:sldMk cId="3893609620" sldId="945"/>
            <ac:spMk id="11" creationId="{3D4BD243-6BB9-4167-91CA-D171B4EC2B79}"/>
          </ac:spMkLst>
        </pc:spChg>
        <pc:spChg chg="mod">
          <ac:chgData name="Le Zhang (DCP)" userId="4093b8df-c45f-452e-86ba-4cdd8d4ea262" providerId="ADAL" clId="{D9B83503-50A2-400D-8DE0-0E44DB81DEFB}" dt="2020-07-14T22:48:35.998" v="393" actId="403"/>
          <ac:spMkLst>
            <pc:docMk/>
            <pc:sldMk cId="3893609620" sldId="945"/>
            <ac:spMk id="24" creationId="{85800FDC-7597-4A4B-99BA-C987E4FF4D31}"/>
          </ac:spMkLst>
        </pc:spChg>
        <pc:spChg chg="mod">
          <ac:chgData name="Le Zhang (DCP)" userId="4093b8df-c45f-452e-86ba-4cdd8d4ea262" providerId="ADAL" clId="{D9B83503-50A2-400D-8DE0-0E44DB81DEFB}" dt="2020-07-14T22:13:59.363" v="50" actId="1076"/>
          <ac:spMkLst>
            <pc:docMk/>
            <pc:sldMk cId="3893609620" sldId="945"/>
            <ac:spMk id="29" creationId="{173B2FFE-0BA3-4530-9382-3A016A5A9F71}"/>
          </ac:spMkLst>
        </pc:spChg>
        <pc:spChg chg="mod">
          <ac:chgData name="Le Zhang (DCP)" userId="4093b8df-c45f-452e-86ba-4cdd8d4ea262" providerId="ADAL" clId="{D9B83503-50A2-400D-8DE0-0E44DB81DEFB}" dt="2020-07-14T22:45:42.908" v="292" actId="1076"/>
          <ac:spMkLst>
            <pc:docMk/>
            <pc:sldMk cId="3893609620" sldId="945"/>
            <ac:spMk id="30" creationId="{94EFE761-FD16-48E0-933F-AD68746AB657}"/>
          </ac:spMkLst>
        </pc:spChg>
        <pc:spChg chg="mod">
          <ac:chgData name="Le Zhang (DCP)" userId="4093b8df-c45f-452e-86ba-4cdd8d4ea262" providerId="ADAL" clId="{D9B83503-50A2-400D-8DE0-0E44DB81DEFB}" dt="2020-07-14T22:45:47.013" v="301" actId="1037"/>
          <ac:spMkLst>
            <pc:docMk/>
            <pc:sldMk cId="3893609620" sldId="945"/>
            <ac:spMk id="31" creationId="{0BF07143-E56E-40FA-9849-54DC7832BB78}"/>
          </ac:spMkLst>
        </pc:spChg>
        <pc:spChg chg="mod">
          <ac:chgData name="Le Zhang (DCP)" userId="4093b8df-c45f-452e-86ba-4cdd8d4ea262" providerId="ADAL" clId="{D9B83503-50A2-400D-8DE0-0E44DB81DEFB}" dt="2020-07-14T22:45:51.399" v="302" actId="1076"/>
          <ac:spMkLst>
            <pc:docMk/>
            <pc:sldMk cId="3893609620" sldId="945"/>
            <ac:spMk id="32" creationId="{4A9D15F8-3390-45AE-BEF1-6CD30E8208A6}"/>
          </ac:spMkLst>
        </pc:spChg>
        <pc:spChg chg="mod">
          <ac:chgData name="Le Zhang (DCP)" userId="4093b8df-c45f-452e-86ba-4cdd8d4ea262" providerId="ADAL" clId="{D9B83503-50A2-400D-8DE0-0E44DB81DEFB}" dt="2020-07-14T22:46:01.208" v="327" actId="1037"/>
          <ac:spMkLst>
            <pc:docMk/>
            <pc:sldMk cId="3893609620" sldId="945"/>
            <ac:spMk id="33" creationId="{6940218C-8629-4C01-8501-CC380A5F2E2B}"/>
          </ac:spMkLst>
        </pc:spChg>
        <pc:spChg chg="mod">
          <ac:chgData name="Le Zhang (DCP)" userId="4093b8df-c45f-452e-86ba-4cdd8d4ea262" providerId="ADAL" clId="{D9B83503-50A2-400D-8DE0-0E44DB81DEFB}" dt="2020-07-14T22:46:06.090" v="338" actId="1037"/>
          <ac:spMkLst>
            <pc:docMk/>
            <pc:sldMk cId="3893609620" sldId="945"/>
            <ac:spMk id="34" creationId="{EB37EFAB-7DC3-4863-959A-C09E68B63594}"/>
          </ac:spMkLst>
        </pc:spChg>
        <pc:spChg chg="mod">
          <ac:chgData name="Le Zhang (DCP)" userId="4093b8df-c45f-452e-86ba-4cdd8d4ea262" providerId="ADAL" clId="{D9B83503-50A2-400D-8DE0-0E44DB81DEFB}" dt="2020-07-14T22:14:34.413" v="63" actId="1076"/>
          <ac:spMkLst>
            <pc:docMk/>
            <pc:sldMk cId="3893609620" sldId="945"/>
            <ac:spMk id="35" creationId="{4C2FC8C1-9DF4-40FB-89A2-1816329ABBD9}"/>
          </ac:spMkLst>
        </pc:spChg>
        <pc:spChg chg="mod">
          <ac:chgData name="Le Zhang (DCP)" userId="4093b8df-c45f-452e-86ba-4cdd8d4ea262" providerId="ADAL" clId="{D9B83503-50A2-400D-8DE0-0E44DB81DEFB}" dt="2020-07-14T22:14:39.199" v="64" actId="1076"/>
          <ac:spMkLst>
            <pc:docMk/>
            <pc:sldMk cId="3893609620" sldId="945"/>
            <ac:spMk id="36" creationId="{91785D03-5D68-4D25-862A-E3F2301EBE56}"/>
          </ac:spMkLst>
        </pc:spChg>
        <pc:spChg chg="mod">
          <ac:chgData name="Le Zhang (DCP)" userId="4093b8df-c45f-452e-86ba-4cdd8d4ea262" providerId="ADAL" clId="{D9B83503-50A2-400D-8DE0-0E44DB81DEFB}" dt="2020-07-14T22:53:46.113" v="507" actId="1076"/>
          <ac:spMkLst>
            <pc:docMk/>
            <pc:sldMk cId="3893609620" sldId="945"/>
            <ac:spMk id="40" creationId="{95D0B7F4-4459-46DD-A8FF-43125A0CC4B3}"/>
          </ac:spMkLst>
        </pc:spChg>
        <pc:spChg chg="del mod topLvl">
          <ac:chgData name="Le Zhang (DCP)" userId="4093b8df-c45f-452e-86ba-4cdd8d4ea262" providerId="ADAL" clId="{D9B83503-50A2-400D-8DE0-0E44DB81DEFB}" dt="2020-07-14T22:13:45.975" v="47" actId="478"/>
          <ac:spMkLst>
            <pc:docMk/>
            <pc:sldMk cId="3893609620" sldId="945"/>
            <ac:spMk id="41" creationId="{8538FE93-CF23-4E03-BE74-1671044A75D8}"/>
          </ac:spMkLst>
        </pc:spChg>
        <pc:spChg chg="add mod">
          <ac:chgData name="Le Zhang (DCP)" userId="4093b8df-c45f-452e-86ba-4cdd8d4ea262" providerId="ADAL" clId="{D9B83503-50A2-400D-8DE0-0E44DB81DEFB}" dt="2020-07-14T22:30:03.406" v="224" actId="164"/>
          <ac:spMkLst>
            <pc:docMk/>
            <pc:sldMk cId="3893609620" sldId="945"/>
            <ac:spMk id="46" creationId="{D7B7A9D9-72DC-4C15-A101-5CF60024CF42}"/>
          </ac:spMkLst>
        </pc:spChg>
        <pc:spChg chg="add mod">
          <ac:chgData name="Le Zhang (DCP)" userId="4093b8df-c45f-452e-86ba-4cdd8d4ea262" providerId="ADAL" clId="{D9B83503-50A2-400D-8DE0-0E44DB81DEFB}" dt="2020-07-14T22:47:22.319" v="368" actId="1035"/>
          <ac:spMkLst>
            <pc:docMk/>
            <pc:sldMk cId="3893609620" sldId="945"/>
            <ac:spMk id="48" creationId="{F1DD7476-BCD6-4063-840E-32EA2BC5AD01}"/>
          </ac:spMkLst>
        </pc:spChg>
        <pc:grpChg chg="del mod">
          <ac:chgData name="Le Zhang (DCP)" userId="4093b8df-c45f-452e-86ba-4cdd8d4ea262" providerId="ADAL" clId="{D9B83503-50A2-400D-8DE0-0E44DB81DEFB}" dt="2020-07-14T22:12:58.262" v="38" actId="478"/>
          <ac:grpSpMkLst>
            <pc:docMk/>
            <pc:sldMk cId="3893609620" sldId="945"/>
            <ac:grpSpMk id="3" creationId="{0D0C721A-3082-4253-B8C5-C98D95E2E26E}"/>
          </ac:grpSpMkLst>
        </pc:grpChg>
        <pc:grpChg chg="del mod">
          <ac:chgData name="Le Zhang (DCP)" userId="4093b8df-c45f-452e-86ba-4cdd8d4ea262" providerId="ADAL" clId="{D9B83503-50A2-400D-8DE0-0E44DB81DEFB}" dt="2020-07-14T22:13:45.975" v="47" actId="478"/>
          <ac:grpSpMkLst>
            <pc:docMk/>
            <pc:sldMk cId="3893609620" sldId="945"/>
            <ac:grpSpMk id="7" creationId="{EBC397E9-2039-4439-8950-6A823402C1B9}"/>
          </ac:grpSpMkLst>
        </pc:grpChg>
        <pc:grpChg chg="del mod">
          <ac:chgData name="Le Zhang (DCP)" userId="4093b8df-c45f-452e-86ba-4cdd8d4ea262" providerId="ADAL" clId="{D9B83503-50A2-400D-8DE0-0E44DB81DEFB}" dt="2020-07-14T22:17:51.074" v="74" actId="478"/>
          <ac:grpSpMkLst>
            <pc:docMk/>
            <pc:sldMk cId="3893609620" sldId="945"/>
            <ac:grpSpMk id="8" creationId="{5B692D7E-E7A2-4F13-8966-0BFDE2B1B8A6}"/>
          </ac:grpSpMkLst>
        </pc:grpChg>
        <pc:grpChg chg="add del mod">
          <ac:chgData name="Le Zhang (DCP)" userId="4093b8df-c45f-452e-86ba-4cdd8d4ea262" providerId="ADAL" clId="{D9B83503-50A2-400D-8DE0-0E44DB81DEFB}" dt="2020-07-14T22:44:20.801" v="257" actId="478"/>
          <ac:grpSpMkLst>
            <pc:docMk/>
            <pc:sldMk cId="3893609620" sldId="945"/>
            <ac:grpSpMk id="12" creationId="{DFB2B987-16E2-4086-8FAA-6082FB109494}"/>
          </ac:grpSpMkLst>
        </pc:grpChg>
        <pc:grpChg chg="add del mod">
          <ac:chgData name="Le Zhang (DCP)" userId="4093b8df-c45f-452e-86ba-4cdd8d4ea262" providerId="ADAL" clId="{D9B83503-50A2-400D-8DE0-0E44DB81DEFB}" dt="2020-07-14T22:47:56.494" v="371" actId="478"/>
          <ac:grpSpMkLst>
            <pc:docMk/>
            <pc:sldMk cId="3893609620" sldId="945"/>
            <ac:grpSpMk id="13" creationId="{47FCFD72-6232-4D00-8F95-321DD8D138DA}"/>
          </ac:grpSpMkLst>
        </pc:grpChg>
        <pc:grpChg chg="add mod">
          <ac:chgData name="Le Zhang (DCP)" userId="4093b8df-c45f-452e-86ba-4cdd8d4ea262" providerId="ADAL" clId="{D9B83503-50A2-400D-8DE0-0E44DB81DEFB}" dt="2020-07-14T22:51:00.408" v="410" actId="14100"/>
          <ac:grpSpMkLst>
            <pc:docMk/>
            <pc:sldMk cId="3893609620" sldId="945"/>
            <ac:grpSpMk id="14" creationId="{51D7E514-97F9-4E49-8257-3A7C5D002E4B}"/>
          </ac:grpSpMkLst>
        </pc:grpChg>
        <pc:grpChg chg="add mod">
          <ac:chgData name="Le Zhang (DCP)" userId="4093b8df-c45f-452e-86ba-4cdd8d4ea262" providerId="ADAL" clId="{D9B83503-50A2-400D-8DE0-0E44DB81DEFB}" dt="2020-07-14T22:52:02.332" v="423" actId="14100"/>
          <ac:grpSpMkLst>
            <pc:docMk/>
            <pc:sldMk cId="3893609620" sldId="945"/>
            <ac:grpSpMk id="15" creationId="{88F60B49-BB3B-4D96-BBA4-1B15AF346E5D}"/>
          </ac:grpSpMkLst>
        </pc:grpChg>
        <pc:grpChg chg="add mod">
          <ac:chgData name="Le Zhang (DCP)" userId="4093b8df-c45f-452e-86ba-4cdd8d4ea262" providerId="ADAL" clId="{D9B83503-50A2-400D-8DE0-0E44DB81DEFB}" dt="2020-07-14T22:51:28.006" v="417" actId="1076"/>
          <ac:grpSpMkLst>
            <pc:docMk/>
            <pc:sldMk cId="3893609620" sldId="945"/>
            <ac:grpSpMk id="16" creationId="{1068664F-B066-45C8-A928-0A7D20E9C62F}"/>
          </ac:grpSpMkLst>
        </pc:grpChg>
        <pc:grpChg chg="mod">
          <ac:chgData name="Le Zhang (DCP)" userId="4093b8df-c45f-452e-86ba-4cdd8d4ea262" providerId="ADAL" clId="{D9B83503-50A2-400D-8DE0-0E44DB81DEFB}" dt="2020-07-14T22:51:25.830" v="416" actId="164"/>
          <ac:grpSpMkLst>
            <pc:docMk/>
            <pc:sldMk cId="3893609620" sldId="945"/>
            <ac:grpSpMk id="21" creationId="{D731847C-4DBE-4AE5-B7E7-BC7A44AC83FE}"/>
          </ac:grpSpMkLst>
        </pc:grpChg>
        <pc:grpChg chg="mod topLvl">
          <ac:chgData name="Le Zhang (DCP)" userId="4093b8df-c45f-452e-86ba-4cdd8d4ea262" providerId="ADAL" clId="{D9B83503-50A2-400D-8DE0-0E44DB81DEFB}" dt="2020-07-14T22:46:38.298" v="352" actId="164"/>
          <ac:grpSpMkLst>
            <pc:docMk/>
            <pc:sldMk cId="3893609620" sldId="945"/>
            <ac:grpSpMk id="25" creationId="{5BABA797-0DCD-4E58-9609-E0B0D33B5F04}"/>
          </ac:grpSpMkLst>
        </pc:grpChg>
        <pc:grpChg chg="mod">
          <ac:chgData name="Le Zhang (DCP)" userId="4093b8df-c45f-452e-86ba-4cdd8d4ea262" providerId="ADAL" clId="{D9B83503-50A2-400D-8DE0-0E44DB81DEFB}" dt="2020-07-14T22:44:20.801" v="257" actId="478"/>
          <ac:grpSpMkLst>
            <pc:docMk/>
            <pc:sldMk cId="3893609620" sldId="945"/>
            <ac:grpSpMk id="27" creationId="{3795B927-32AF-48BE-8D06-B3FA72EA010A}"/>
          </ac:grpSpMkLst>
        </pc:grpChg>
        <pc:grpChg chg="mod">
          <ac:chgData name="Le Zhang (DCP)" userId="4093b8df-c45f-452e-86ba-4cdd8d4ea262" providerId="ADAL" clId="{D9B83503-50A2-400D-8DE0-0E44DB81DEFB}" dt="2020-07-14T22:44:20.801" v="257" actId="478"/>
          <ac:grpSpMkLst>
            <pc:docMk/>
            <pc:sldMk cId="3893609620" sldId="945"/>
            <ac:grpSpMk id="38" creationId="{A148A6BF-0FCB-402E-92DF-B905255AB259}"/>
          </ac:grpSpMkLst>
        </pc:grpChg>
        <pc:graphicFrameChg chg="add del mod">
          <ac:chgData name="Le Zhang (DCP)" userId="4093b8df-c45f-452e-86ba-4cdd8d4ea262" providerId="ADAL" clId="{D9B83503-50A2-400D-8DE0-0E44DB81DEFB}" dt="2020-07-14T22:16:42.822" v="73" actId="478"/>
          <ac:graphicFrameMkLst>
            <pc:docMk/>
            <pc:sldMk cId="3893609620" sldId="945"/>
            <ac:graphicFrameMk id="9" creationId="{0598435B-8530-459C-815A-2EEE925361C2}"/>
          </ac:graphicFrameMkLst>
        </pc:graphicFrameChg>
        <pc:graphicFrameChg chg="add del">
          <ac:chgData name="Le Zhang (DCP)" userId="4093b8df-c45f-452e-86ba-4cdd8d4ea262" providerId="ADAL" clId="{D9B83503-50A2-400D-8DE0-0E44DB81DEFB}" dt="2020-07-14T16:59:10.380" v="23" actId="478"/>
          <ac:graphicFrameMkLst>
            <pc:docMk/>
            <pc:sldMk cId="3893609620" sldId="945"/>
            <ac:graphicFrameMk id="10" creationId="{855618FC-B8AA-4488-A4C5-6BEAD6C32A16}"/>
          </ac:graphicFrameMkLst>
        </pc:graphicFrameChg>
        <pc:graphicFrameChg chg="del">
          <ac:chgData name="Le Zhang (DCP)" userId="4093b8df-c45f-452e-86ba-4cdd8d4ea262" providerId="ADAL" clId="{D9B83503-50A2-400D-8DE0-0E44DB81DEFB}" dt="2020-07-14T22:12:58.262" v="38" actId="478"/>
          <ac:graphicFrameMkLst>
            <pc:docMk/>
            <pc:sldMk cId="3893609620" sldId="945"/>
            <ac:graphicFrameMk id="28" creationId="{B5C1112F-4DEC-4BBF-B66C-BD9D7E491B5B}"/>
          </ac:graphicFrameMkLst>
        </pc:graphicFrameChg>
        <pc:graphicFrameChg chg="add del mod">
          <ac:chgData name="Le Zhang (DCP)" userId="4093b8df-c45f-452e-86ba-4cdd8d4ea262" providerId="ADAL" clId="{D9B83503-50A2-400D-8DE0-0E44DB81DEFB}" dt="2020-07-14T22:44:20.801" v="257" actId="478"/>
          <ac:graphicFrameMkLst>
            <pc:docMk/>
            <pc:sldMk cId="3893609620" sldId="945"/>
            <ac:graphicFrameMk id="37" creationId="{B5C1112F-4DEC-4BBF-B66C-BD9D7E491B5B}"/>
          </ac:graphicFrameMkLst>
        </pc:graphicFrameChg>
        <pc:graphicFrameChg chg="del">
          <ac:chgData name="Le Zhang (DCP)" userId="4093b8df-c45f-452e-86ba-4cdd8d4ea262" providerId="ADAL" clId="{D9B83503-50A2-400D-8DE0-0E44DB81DEFB}" dt="2020-07-14T22:17:51.074" v="74" actId="478"/>
          <ac:graphicFrameMkLst>
            <pc:docMk/>
            <pc:sldMk cId="3893609620" sldId="945"/>
            <ac:graphicFrameMk id="42" creationId="{A0807E5F-4857-4EC3-B4F6-C9AE10D6552D}"/>
          </ac:graphicFrameMkLst>
        </pc:graphicFrameChg>
        <pc:graphicFrameChg chg="add del mod">
          <ac:chgData name="Le Zhang (DCP)" userId="4093b8df-c45f-452e-86ba-4cdd8d4ea262" providerId="ADAL" clId="{D9B83503-50A2-400D-8DE0-0E44DB81DEFB}" dt="2020-07-14T22:47:56.494" v="371" actId="478"/>
          <ac:graphicFrameMkLst>
            <pc:docMk/>
            <pc:sldMk cId="3893609620" sldId="945"/>
            <ac:graphicFrameMk id="43" creationId="{A0807E5F-4857-4EC3-B4F6-C9AE10D6552D}"/>
          </ac:graphicFrameMkLst>
        </pc:graphicFrameChg>
        <pc:graphicFrameChg chg="add mod">
          <ac:chgData name="Le Zhang (DCP)" userId="4093b8df-c45f-452e-86ba-4cdd8d4ea262" providerId="ADAL" clId="{D9B83503-50A2-400D-8DE0-0E44DB81DEFB}" dt="2020-07-14T22:50:04.266" v="408" actId="403"/>
          <ac:graphicFrameMkLst>
            <pc:docMk/>
            <pc:sldMk cId="3893609620" sldId="945"/>
            <ac:graphicFrameMk id="44" creationId="{2E12B5D4-5FBB-4BBA-89AE-CFDCF53A63B5}"/>
          </ac:graphicFrameMkLst>
        </pc:graphicFrameChg>
        <pc:graphicFrameChg chg="add mod">
          <ac:chgData name="Le Zhang (DCP)" userId="4093b8df-c45f-452e-86ba-4cdd8d4ea262" providerId="ADAL" clId="{D9B83503-50A2-400D-8DE0-0E44DB81DEFB}" dt="2020-07-14T22:53:26.422" v="463" actId="20577"/>
          <ac:graphicFrameMkLst>
            <pc:docMk/>
            <pc:sldMk cId="3893609620" sldId="945"/>
            <ac:graphicFrameMk id="47" creationId="{B5C1112F-4DEC-4BBF-B66C-BD9D7E491B5B}"/>
          </ac:graphicFrameMkLst>
        </pc:graphicFrameChg>
        <pc:graphicFrameChg chg="add mod">
          <ac:chgData name="Le Zhang (DCP)" userId="4093b8df-c45f-452e-86ba-4cdd8d4ea262" providerId="ADAL" clId="{D9B83503-50A2-400D-8DE0-0E44DB81DEFB}" dt="2020-07-14T22:51:25.830" v="416" actId="164"/>
          <ac:graphicFrameMkLst>
            <pc:docMk/>
            <pc:sldMk cId="3893609620" sldId="945"/>
            <ac:graphicFrameMk id="49" creationId="{A0807E5F-4857-4EC3-B4F6-C9AE10D6552D}"/>
          </ac:graphicFrameMkLst>
        </pc:graphicFrameChg>
        <pc:cxnChg chg="mod">
          <ac:chgData name="Le Zhang (DCP)" userId="4093b8df-c45f-452e-86ba-4cdd8d4ea262" providerId="ADAL" clId="{D9B83503-50A2-400D-8DE0-0E44DB81DEFB}" dt="2020-07-14T22:23:09.407" v="172" actId="1035"/>
          <ac:cxnSpMkLst>
            <pc:docMk/>
            <pc:sldMk cId="3893609620" sldId="945"/>
            <ac:cxnSpMk id="23" creationId="{7C2B7576-953B-4998-8B1B-3C1A1B5D7F50}"/>
          </ac:cxnSpMkLst>
        </pc:cxnChg>
        <pc:cxnChg chg="mod">
          <ac:chgData name="Le Zhang (DCP)" userId="4093b8df-c45f-452e-86ba-4cdd8d4ea262" providerId="ADAL" clId="{D9B83503-50A2-400D-8DE0-0E44DB81DEFB}" dt="2020-07-14T22:20:14.083" v="143" actId="1036"/>
          <ac:cxnSpMkLst>
            <pc:docMk/>
            <pc:sldMk cId="3893609620" sldId="945"/>
            <ac:cxnSpMk id="39" creationId="{9EFFE4AE-851E-4579-9EFE-99E2D84194BA}"/>
          </ac:cxnSpMkLst>
        </pc:cxnChg>
        <pc:cxnChg chg="add mod">
          <ac:chgData name="Le Zhang (DCP)" userId="4093b8df-c45f-452e-86ba-4cdd8d4ea262" providerId="ADAL" clId="{D9B83503-50A2-400D-8DE0-0E44DB81DEFB}" dt="2020-07-14T22:51:03.789" v="413" actId="1035"/>
          <ac:cxnSpMkLst>
            <pc:docMk/>
            <pc:sldMk cId="3893609620" sldId="945"/>
            <ac:cxnSpMk id="45" creationId="{918D82A6-8BFE-49A3-94B9-0BA720F362FE}"/>
          </ac:cxnSpMkLst>
        </pc:cxnChg>
      </pc:sldChg>
      <pc:sldMasterChg chg="modSp">
        <pc:chgData name="Le Zhang (DCP)" userId="4093b8df-c45f-452e-86ba-4cdd8d4ea262" providerId="ADAL" clId="{D9B83503-50A2-400D-8DE0-0E44DB81DEFB}" dt="2020-07-08T02:48:34.611" v="4" actId="20577"/>
        <pc:sldMasterMkLst>
          <pc:docMk/>
          <pc:sldMasterMk cId="0" sldId="2147483660"/>
        </pc:sldMasterMkLst>
        <pc:spChg chg="mod">
          <ac:chgData name="Le Zhang (DCP)" userId="4093b8df-c45f-452e-86ba-4cdd8d4ea262" providerId="ADAL" clId="{D9B83503-50A2-400D-8DE0-0E44DB81DEFB}" dt="2020-07-08T02:48:34.611" v="4" actId="20577"/>
          <ac:spMkLst>
            <pc:docMk/>
            <pc:sldMasterMk cId="0" sldId="2147483660"/>
            <ac:spMk id="8" creationId="{892C32C2-73D7-45DA-8755-2A0C4259CF1E}"/>
          </ac:spMkLst>
        </pc:spChg>
      </pc:sldMasterChg>
    </pc:docChg>
  </pc:docChgLst>
  <pc:docChgLst>
    <pc:chgData clId="Web-{67B3CD91-C726-E257-40C1-5BB38AAA5AF3}"/>
    <pc:docChg chg="modSld">
      <pc:chgData name="" userId="" providerId="" clId="Web-{67B3CD91-C726-E257-40C1-5BB38AAA5AF3}" dt="2020-07-07T20:40:48.155" v="6" actId="14100"/>
      <pc:docMkLst>
        <pc:docMk/>
      </pc:docMkLst>
    </pc:docChg>
  </pc:docChgLst>
  <pc:docChgLst>
    <pc:chgData name="Laura Smith (DCP)" userId="04d996ad-c8c0-4279-84c0-115ebcf63bba" providerId="ADAL" clId="{F6B3F25C-E762-46FB-BD4F-2642FA97124F}"/>
    <pc:docChg chg="undo custSel addSld delSld modSld sldOrd">
      <pc:chgData name="Laura Smith (DCP)" userId="04d996ad-c8c0-4279-84c0-115ebcf63bba" providerId="ADAL" clId="{F6B3F25C-E762-46FB-BD4F-2642FA97124F}" dt="2020-07-21T23:34:16.113" v="3954" actId="113"/>
      <pc:docMkLst>
        <pc:docMk/>
      </pc:docMkLst>
      <pc:sldChg chg="addSp delSp modSp">
        <pc:chgData name="Laura Smith (DCP)" userId="04d996ad-c8c0-4279-84c0-115ebcf63bba" providerId="ADAL" clId="{F6B3F25C-E762-46FB-BD4F-2642FA97124F}" dt="2020-07-21T23:34:16.113" v="3954" actId="113"/>
        <pc:sldMkLst>
          <pc:docMk/>
          <pc:sldMk cId="3417640896" sldId="660"/>
        </pc:sldMkLst>
        <pc:spChg chg="mod">
          <ac:chgData name="Laura Smith (DCP)" userId="04d996ad-c8c0-4279-84c0-115ebcf63bba" providerId="ADAL" clId="{F6B3F25C-E762-46FB-BD4F-2642FA97124F}" dt="2020-07-21T23:34:16.113" v="3954" actId="113"/>
          <ac:spMkLst>
            <pc:docMk/>
            <pc:sldMk cId="3417640896" sldId="660"/>
            <ac:spMk id="3" creationId="{D2AC686F-77B0-4B98-9400-AE95D8E98FF4}"/>
          </ac:spMkLst>
        </pc:spChg>
        <pc:spChg chg="add del">
          <ac:chgData name="Laura Smith (DCP)" userId="04d996ad-c8c0-4279-84c0-115ebcf63bba" providerId="ADAL" clId="{F6B3F25C-E762-46FB-BD4F-2642FA97124F}" dt="2020-07-21T23:14:22.914" v="3655" actId="478"/>
          <ac:spMkLst>
            <pc:docMk/>
            <pc:sldMk cId="3417640896" sldId="660"/>
            <ac:spMk id="5" creationId="{27C5F5D4-736C-46AC-8FAA-3163098E4A56}"/>
          </ac:spMkLst>
        </pc:spChg>
      </pc:sldChg>
      <pc:sldChg chg="addSp delSp modSp">
        <pc:chgData name="Laura Smith (DCP)" userId="04d996ad-c8c0-4279-84c0-115ebcf63bba" providerId="ADAL" clId="{F6B3F25C-E762-46FB-BD4F-2642FA97124F}" dt="2020-07-21T23:13:56.520" v="3651" actId="27636"/>
        <pc:sldMkLst>
          <pc:docMk/>
          <pc:sldMk cId="4030096002" sldId="691"/>
        </pc:sldMkLst>
        <pc:spChg chg="mod">
          <ac:chgData name="Laura Smith (DCP)" userId="04d996ad-c8c0-4279-84c0-115ebcf63bba" providerId="ADAL" clId="{F6B3F25C-E762-46FB-BD4F-2642FA97124F}" dt="2020-07-21T23:13:56.520" v="3651" actId="27636"/>
          <ac:spMkLst>
            <pc:docMk/>
            <pc:sldMk cId="4030096002" sldId="691"/>
            <ac:spMk id="3" creationId="{D2AC686F-77B0-4B98-9400-AE95D8E98FF4}"/>
          </ac:spMkLst>
        </pc:spChg>
        <pc:spChg chg="add del">
          <ac:chgData name="Laura Smith (DCP)" userId="04d996ad-c8c0-4279-84c0-115ebcf63bba" providerId="ADAL" clId="{F6B3F25C-E762-46FB-BD4F-2642FA97124F}" dt="2020-07-21T23:13:28.307" v="3645" actId="478"/>
          <ac:spMkLst>
            <pc:docMk/>
            <pc:sldMk cId="4030096002" sldId="691"/>
            <ac:spMk id="5" creationId="{EE3D4755-A28D-4A53-B48B-E9A92BC9F8F6}"/>
          </ac:spMkLst>
        </pc:spChg>
      </pc:sldChg>
      <pc:sldChg chg="addSp delSp modSp delCm">
        <pc:chgData name="Laura Smith (DCP)" userId="04d996ad-c8c0-4279-84c0-115ebcf63bba" providerId="ADAL" clId="{F6B3F25C-E762-46FB-BD4F-2642FA97124F}" dt="2020-07-21T21:37:17.303" v="1785" actId="403"/>
        <pc:sldMkLst>
          <pc:docMk/>
          <pc:sldMk cId="1519931681" sldId="923"/>
        </pc:sldMkLst>
        <pc:spChg chg="del">
          <ac:chgData name="Laura Smith (DCP)" userId="04d996ad-c8c0-4279-84c0-115ebcf63bba" providerId="ADAL" clId="{F6B3F25C-E762-46FB-BD4F-2642FA97124F}" dt="2020-07-21T20:33:36.493" v="1516" actId="478"/>
          <ac:spMkLst>
            <pc:docMk/>
            <pc:sldMk cId="1519931681" sldId="923"/>
            <ac:spMk id="5" creationId="{63EFA7D0-1852-7D4F-96CE-1D2365B28907}"/>
          </ac:spMkLst>
        </pc:spChg>
        <pc:spChg chg="add del mod">
          <ac:chgData name="Laura Smith (DCP)" userId="04d996ad-c8c0-4279-84c0-115ebcf63bba" providerId="ADAL" clId="{F6B3F25C-E762-46FB-BD4F-2642FA97124F}" dt="2020-07-21T20:34:54.526" v="1593" actId="478"/>
          <ac:spMkLst>
            <pc:docMk/>
            <pc:sldMk cId="1519931681" sldId="923"/>
            <ac:spMk id="18" creationId="{7B8EC0C9-C4CA-4F7F-B96A-18E657F1CE11}"/>
          </ac:spMkLst>
        </pc:spChg>
        <pc:spChg chg="mod">
          <ac:chgData name="Laura Smith (DCP)" userId="04d996ad-c8c0-4279-84c0-115ebcf63bba" providerId="ADAL" clId="{F6B3F25C-E762-46FB-BD4F-2642FA97124F}" dt="2020-07-21T20:34:37.615" v="1590" actId="113"/>
          <ac:spMkLst>
            <pc:docMk/>
            <pc:sldMk cId="1519931681" sldId="923"/>
            <ac:spMk id="25" creationId="{13B87C1F-74FA-7648-A5E7-2CB01BB275C1}"/>
          </ac:spMkLst>
        </pc:spChg>
        <pc:graphicFrameChg chg="mod">
          <ac:chgData name="Laura Smith (DCP)" userId="04d996ad-c8c0-4279-84c0-115ebcf63bba" providerId="ADAL" clId="{F6B3F25C-E762-46FB-BD4F-2642FA97124F}" dt="2020-07-21T21:37:10.919" v="1784" actId="403"/>
          <ac:graphicFrameMkLst>
            <pc:docMk/>
            <pc:sldMk cId="1519931681" sldId="923"/>
            <ac:graphicFrameMk id="16" creationId="{A02ADCAF-7863-324A-9F02-208B1F40E7D2}"/>
          </ac:graphicFrameMkLst>
        </pc:graphicFrameChg>
        <pc:graphicFrameChg chg="mod">
          <ac:chgData name="Laura Smith (DCP)" userId="04d996ad-c8c0-4279-84c0-115ebcf63bba" providerId="ADAL" clId="{F6B3F25C-E762-46FB-BD4F-2642FA97124F}" dt="2020-07-21T21:37:17.303" v="1785" actId="403"/>
          <ac:graphicFrameMkLst>
            <pc:docMk/>
            <pc:sldMk cId="1519931681" sldId="923"/>
            <ac:graphicFrameMk id="17" creationId="{1CC46FE6-FAD9-9342-A3CD-D968E9257405}"/>
          </ac:graphicFrameMkLst>
        </pc:graphicFrameChg>
        <pc:graphicFrameChg chg="mod">
          <ac:chgData name="Laura Smith (DCP)" userId="04d996ad-c8c0-4279-84c0-115ebcf63bba" providerId="ADAL" clId="{F6B3F25C-E762-46FB-BD4F-2642FA97124F}" dt="2020-07-21T21:37:02.055" v="1783"/>
          <ac:graphicFrameMkLst>
            <pc:docMk/>
            <pc:sldMk cId="1519931681" sldId="923"/>
            <ac:graphicFrameMk id="19" creationId="{E35A8EDB-62EC-E941-AA5F-B4F65D9C755C}"/>
          </ac:graphicFrameMkLst>
        </pc:graphicFrameChg>
      </pc:sldChg>
      <pc:sldChg chg="addSp delSp modSp">
        <pc:chgData name="Laura Smith (DCP)" userId="04d996ad-c8c0-4279-84c0-115ebcf63bba" providerId="ADAL" clId="{F6B3F25C-E762-46FB-BD4F-2642FA97124F}" dt="2020-07-21T23:30:22.577" v="3772" actId="20577"/>
        <pc:sldMkLst>
          <pc:docMk/>
          <pc:sldMk cId="3893609620" sldId="945"/>
        </pc:sldMkLst>
        <pc:spChg chg="add del mod">
          <ac:chgData name="Laura Smith (DCP)" userId="04d996ad-c8c0-4279-84c0-115ebcf63bba" providerId="ADAL" clId="{F6B3F25C-E762-46FB-BD4F-2642FA97124F}" dt="2020-07-21T21:34:03.242" v="1751" actId="478"/>
          <ac:spMkLst>
            <pc:docMk/>
            <pc:sldMk cId="3893609620" sldId="945"/>
            <ac:spMk id="3" creationId="{3F9B9B4A-AB21-40E2-89CC-E5C8D66A990C}"/>
          </ac:spMkLst>
        </pc:spChg>
        <pc:spChg chg="mod">
          <ac:chgData name="Laura Smith (DCP)" userId="04d996ad-c8c0-4279-84c0-115ebcf63bba" providerId="ADAL" clId="{F6B3F25C-E762-46FB-BD4F-2642FA97124F}" dt="2020-07-21T21:33:59.950" v="1750" actId="6549"/>
          <ac:spMkLst>
            <pc:docMk/>
            <pc:sldMk cId="3893609620" sldId="945"/>
            <ac:spMk id="11" creationId="{3D4BD243-6BB9-4167-91CA-D171B4EC2B79}"/>
          </ac:spMkLst>
        </pc:spChg>
        <pc:spChg chg="mod">
          <ac:chgData name="Laura Smith (DCP)" userId="04d996ad-c8c0-4279-84c0-115ebcf63bba" providerId="ADAL" clId="{F6B3F25C-E762-46FB-BD4F-2642FA97124F}" dt="2020-07-21T22:53:54.807" v="3202" actId="6549"/>
          <ac:spMkLst>
            <pc:docMk/>
            <pc:sldMk cId="3893609620" sldId="945"/>
            <ac:spMk id="18" creationId="{4B400C07-9027-4C73-9C4E-038FC4557A14}"/>
          </ac:spMkLst>
        </pc:spChg>
        <pc:spChg chg="mod">
          <ac:chgData name="Laura Smith (DCP)" userId="04d996ad-c8c0-4279-84c0-115ebcf63bba" providerId="ADAL" clId="{F6B3F25C-E762-46FB-BD4F-2642FA97124F}" dt="2020-07-21T23:30:22.577" v="3772" actId="20577"/>
          <ac:spMkLst>
            <pc:docMk/>
            <pc:sldMk cId="3893609620" sldId="945"/>
            <ac:spMk id="40" creationId="{95D0B7F4-4459-46DD-A8FF-43125A0CC4B3}"/>
          </ac:spMkLst>
        </pc:spChg>
      </pc:sldChg>
      <pc:sldChg chg="modSp">
        <pc:chgData name="Laura Smith (DCP)" userId="04d996ad-c8c0-4279-84c0-115ebcf63bba" providerId="ADAL" clId="{F6B3F25C-E762-46FB-BD4F-2642FA97124F}" dt="2020-07-21T15:35:33.282" v="226" actId="6549"/>
        <pc:sldMkLst>
          <pc:docMk/>
          <pc:sldMk cId="592946348" sldId="970"/>
        </pc:sldMkLst>
        <pc:spChg chg="mod">
          <ac:chgData name="Laura Smith (DCP)" userId="04d996ad-c8c0-4279-84c0-115ebcf63bba" providerId="ADAL" clId="{F6B3F25C-E762-46FB-BD4F-2642FA97124F}" dt="2020-07-21T15:35:33.282" v="226" actId="6549"/>
          <ac:spMkLst>
            <pc:docMk/>
            <pc:sldMk cId="592946348" sldId="970"/>
            <ac:spMk id="3" creationId="{A4C01C3F-C0B2-456F-B311-5C15E2D429E6}"/>
          </ac:spMkLst>
        </pc:spChg>
      </pc:sldChg>
      <pc:sldChg chg="modSp delCm">
        <pc:chgData name="Laura Smith (DCP)" userId="04d996ad-c8c0-4279-84c0-115ebcf63bba" providerId="ADAL" clId="{F6B3F25C-E762-46FB-BD4F-2642FA97124F}" dt="2020-07-21T23:10:02.981" v="3600" actId="20577"/>
        <pc:sldMkLst>
          <pc:docMk/>
          <pc:sldMk cId="1905173972" sldId="1021"/>
        </pc:sldMkLst>
        <pc:spChg chg="mod">
          <ac:chgData name="Laura Smith (DCP)" userId="04d996ad-c8c0-4279-84c0-115ebcf63bba" providerId="ADAL" clId="{F6B3F25C-E762-46FB-BD4F-2642FA97124F}" dt="2020-07-21T23:05:13.736" v="3509" actId="6549"/>
          <ac:spMkLst>
            <pc:docMk/>
            <pc:sldMk cId="1905173972" sldId="1021"/>
            <ac:spMk id="2" creationId="{F93AA920-0651-44EC-BBA8-0541EDFD3A31}"/>
          </ac:spMkLst>
        </pc:spChg>
        <pc:spChg chg="mod">
          <ac:chgData name="Laura Smith (DCP)" userId="04d996ad-c8c0-4279-84c0-115ebcf63bba" providerId="ADAL" clId="{F6B3F25C-E762-46FB-BD4F-2642FA97124F}" dt="2020-07-21T23:10:02.981" v="3600" actId="20577"/>
          <ac:spMkLst>
            <pc:docMk/>
            <pc:sldMk cId="1905173972" sldId="1021"/>
            <ac:spMk id="6" creationId="{A25A1C29-250D-44E2-A304-C80619528D79}"/>
          </ac:spMkLst>
        </pc:spChg>
      </pc:sldChg>
      <pc:sldChg chg="modSp delCm modCm">
        <pc:chgData name="Laura Smith (DCP)" userId="04d996ad-c8c0-4279-84c0-115ebcf63bba" providerId="ADAL" clId="{F6B3F25C-E762-46FB-BD4F-2642FA97124F}" dt="2020-07-21T20:29:58.511" v="1396" actId="14100"/>
        <pc:sldMkLst>
          <pc:docMk/>
          <pc:sldMk cId="1155418492" sldId="1026"/>
        </pc:sldMkLst>
        <pc:spChg chg="mod">
          <ac:chgData name="Laura Smith (DCP)" userId="04d996ad-c8c0-4279-84c0-115ebcf63bba" providerId="ADAL" clId="{F6B3F25C-E762-46FB-BD4F-2642FA97124F}" dt="2020-07-21T20:29:58.511" v="1396" actId="14100"/>
          <ac:spMkLst>
            <pc:docMk/>
            <pc:sldMk cId="1155418492" sldId="1026"/>
            <ac:spMk id="6" creationId="{6112D5FE-E18B-6A43-BA78-7662CB7AF3D1}"/>
          </ac:spMkLst>
        </pc:spChg>
        <pc:spChg chg="mod">
          <ac:chgData name="Laura Smith (DCP)" userId="04d996ad-c8c0-4279-84c0-115ebcf63bba" providerId="ADAL" clId="{F6B3F25C-E762-46FB-BD4F-2642FA97124F}" dt="2020-07-21T15:28:19.677" v="41" actId="1035"/>
          <ac:spMkLst>
            <pc:docMk/>
            <pc:sldMk cId="1155418492" sldId="1026"/>
            <ac:spMk id="7" creationId="{5DD5AC5F-360F-8042-AE73-AF91185B9B19}"/>
          </ac:spMkLst>
        </pc:spChg>
        <pc:graphicFrameChg chg="mod">
          <ac:chgData name="Laura Smith (DCP)" userId="04d996ad-c8c0-4279-84c0-115ebcf63bba" providerId="ADAL" clId="{F6B3F25C-E762-46FB-BD4F-2642FA97124F}" dt="2020-07-21T15:28:56.701" v="60" actId="6549"/>
          <ac:graphicFrameMkLst>
            <pc:docMk/>
            <pc:sldMk cId="1155418492" sldId="1026"/>
            <ac:graphicFrameMk id="9" creationId="{68EDFA0D-7AE0-AF44-9360-4F25F694E1CE}"/>
          </ac:graphicFrameMkLst>
        </pc:graphicFrameChg>
        <pc:graphicFrameChg chg="mod">
          <ac:chgData name="Laura Smith (DCP)" userId="04d996ad-c8c0-4279-84c0-115ebcf63bba" providerId="ADAL" clId="{F6B3F25C-E762-46FB-BD4F-2642FA97124F}" dt="2020-07-21T15:29:02.429" v="62" actId="6549"/>
          <ac:graphicFrameMkLst>
            <pc:docMk/>
            <pc:sldMk cId="1155418492" sldId="1026"/>
            <ac:graphicFrameMk id="11" creationId="{519EE0ED-7A72-3348-8735-5519A41EDCB8}"/>
          </ac:graphicFrameMkLst>
        </pc:graphicFrameChg>
      </pc:sldChg>
      <pc:sldChg chg="modSp delCm">
        <pc:chgData name="Laura Smith (DCP)" userId="04d996ad-c8c0-4279-84c0-115ebcf63bba" providerId="ADAL" clId="{F6B3F25C-E762-46FB-BD4F-2642FA97124F}" dt="2020-07-21T20:30:16.754" v="1404" actId="1592"/>
        <pc:sldMkLst>
          <pc:docMk/>
          <pc:sldMk cId="1049441131" sldId="1040"/>
        </pc:sldMkLst>
        <pc:spChg chg="mod">
          <ac:chgData name="Laura Smith (DCP)" userId="04d996ad-c8c0-4279-84c0-115ebcf63bba" providerId="ADAL" clId="{F6B3F25C-E762-46FB-BD4F-2642FA97124F}" dt="2020-07-21T20:30:13.998" v="1403" actId="14100"/>
          <ac:spMkLst>
            <pc:docMk/>
            <pc:sldMk cId="1049441131" sldId="1040"/>
            <ac:spMk id="8" creationId="{B4306CB6-AC48-1546-B565-FD067D80C14C}"/>
          </ac:spMkLst>
        </pc:spChg>
        <pc:spChg chg="mod">
          <ac:chgData name="Laura Smith (DCP)" userId="04d996ad-c8c0-4279-84c0-115ebcf63bba" providerId="ADAL" clId="{F6B3F25C-E762-46FB-BD4F-2642FA97124F}" dt="2020-07-21T15:28:39.421" v="52" actId="1037"/>
          <ac:spMkLst>
            <pc:docMk/>
            <pc:sldMk cId="1049441131" sldId="1040"/>
            <ac:spMk id="14" creationId="{437F0068-2F47-8346-A239-A480DB4C0B54}"/>
          </ac:spMkLst>
        </pc:spChg>
        <pc:graphicFrameChg chg="mod">
          <ac:chgData name="Laura Smith (DCP)" userId="04d996ad-c8c0-4279-84c0-115ebcf63bba" providerId="ADAL" clId="{F6B3F25C-E762-46FB-BD4F-2642FA97124F}" dt="2020-07-21T15:28:50.462" v="58" actId="6549"/>
          <ac:graphicFrameMkLst>
            <pc:docMk/>
            <pc:sldMk cId="1049441131" sldId="1040"/>
            <ac:graphicFrameMk id="9" creationId="{CFFA1B36-5CB1-D24F-9F81-D8B570EAAA25}"/>
          </ac:graphicFrameMkLst>
        </pc:graphicFrameChg>
        <pc:graphicFrameChg chg="mod">
          <ac:chgData name="Laura Smith (DCP)" userId="04d996ad-c8c0-4279-84c0-115ebcf63bba" providerId="ADAL" clId="{F6B3F25C-E762-46FB-BD4F-2642FA97124F}" dt="2020-07-21T15:28:45.613" v="56" actId="20577"/>
          <ac:graphicFrameMkLst>
            <pc:docMk/>
            <pc:sldMk cId="1049441131" sldId="1040"/>
            <ac:graphicFrameMk id="10" creationId="{C74309F3-BD2E-054F-AD89-8707F08964FA}"/>
          </ac:graphicFrameMkLst>
        </pc:graphicFrameChg>
      </pc:sldChg>
      <pc:sldChg chg="addSp delSp modSp mod">
        <pc:chgData name="Laura Smith (DCP)" userId="04d996ad-c8c0-4279-84c0-115ebcf63bba" providerId="ADAL" clId="{F6B3F25C-E762-46FB-BD4F-2642FA97124F}" dt="2020-07-21T23:19:12.725" v="3738" actId="6549"/>
        <pc:sldMkLst>
          <pc:docMk/>
          <pc:sldMk cId="520716004" sldId="1058"/>
        </pc:sldMkLst>
        <pc:spChg chg="del mod">
          <ac:chgData name="Laura Smith (DCP)" userId="04d996ad-c8c0-4279-84c0-115ebcf63bba" providerId="ADAL" clId="{F6B3F25C-E762-46FB-BD4F-2642FA97124F}" dt="2020-07-21T21:47:25.787" v="1895" actId="478"/>
          <ac:spMkLst>
            <pc:docMk/>
            <pc:sldMk cId="520716004" sldId="1058"/>
            <ac:spMk id="7" creationId="{58A9CEAC-C5C7-44AA-9AFB-F59D08A6BB51}"/>
          </ac:spMkLst>
        </pc:spChg>
        <pc:spChg chg="mod">
          <ac:chgData name="Laura Smith (DCP)" userId="04d996ad-c8c0-4279-84c0-115ebcf63bba" providerId="ADAL" clId="{F6B3F25C-E762-46FB-BD4F-2642FA97124F}" dt="2020-07-21T23:19:12.725" v="3738" actId="6549"/>
          <ac:spMkLst>
            <pc:docMk/>
            <pc:sldMk cId="520716004" sldId="1058"/>
            <ac:spMk id="9" creationId="{BF15CC37-17A3-48B8-8AF4-369FA726998B}"/>
          </ac:spMkLst>
        </pc:spChg>
        <pc:spChg chg="mod">
          <ac:chgData name="Laura Smith (DCP)" userId="04d996ad-c8c0-4279-84c0-115ebcf63bba" providerId="ADAL" clId="{F6B3F25C-E762-46FB-BD4F-2642FA97124F}" dt="2020-07-21T21:47:47.992" v="1941" actId="20577"/>
          <ac:spMkLst>
            <pc:docMk/>
            <pc:sldMk cId="520716004" sldId="1058"/>
            <ac:spMk id="10" creationId="{FE230770-2AE0-4702-B8C7-8DD16B821EA0}"/>
          </ac:spMkLst>
        </pc:spChg>
        <pc:spChg chg="add del mod">
          <ac:chgData name="Laura Smith (DCP)" userId="04d996ad-c8c0-4279-84c0-115ebcf63bba" providerId="ADAL" clId="{F6B3F25C-E762-46FB-BD4F-2642FA97124F}" dt="2020-07-21T21:45:10.709" v="1791" actId="478"/>
          <ac:spMkLst>
            <pc:docMk/>
            <pc:sldMk cId="520716004" sldId="1058"/>
            <ac:spMk id="12" creationId="{7C0617A2-4462-4725-8459-435B27A4D301}"/>
          </ac:spMkLst>
        </pc:spChg>
        <pc:graphicFrameChg chg="del">
          <ac:chgData name="Laura Smith (DCP)" userId="04d996ad-c8c0-4279-84c0-115ebcf63bba" providerId="ADAL" clId="{F6B3F25C-E762-46FB-BD4F-2642FA97124F}" dt="2020-07-21T21:45:05.564" v="1788" actId="478"/>
          <ac:graphicFrameMkLst>
            <pc:docMk/>
            <pc:sldMk cId="520716004" sldId="1058"/>
            <ac:graphicFrameMk id="11" creationId="{007FCDB3-3E5C-4CAC-8175-E0E0E25D587B}"/>
          </ac:graphicFrameMkLst>
        </pc:graphicFrameChg>
        <pc:graphicFrameChg chg="add mod">
          <ac:chgData name="Laura Smith (DCP)" userId="04d996ad-c8c0-4279-84c0-115ebcf63bba" providerId="ADAL" clId="{F6B3F25C-E762-46FB-BD4F-2642FA97124F}" dt="2020-07-21T23:04:07.348" v="3506" actId="20577"/>
          <ac:graphicFrameMkLst>
            <pc:docMk/>
            <pc:sldMk cId="520716004" sldId="1058"/>
            <ac:graphicFrameMk id="13" creationId="{BF7FD390-2BEF-42D7-A17C-F7C7958B98A7}"/>
          </ac:graphicFrameMkLst>
        </pc:graphicFrameChg>
      </pc:sldChg>
      <pc:sldChg chg="modNotesTx">
        <pc:chgData name="Laura Smith (DCP)" userId="04d996ad-c8c0-4279-84c0-115ebcf63bba" providerId="ADAL" clId="{F6B3F25C-E762-46FB-BD4F-2642FA97124F}" dt="2020-07-21T23:08:27.543" v="3558" actId="6549"/>
        <pc:sldMkLst>
          <pc:docMk/>
          <pc:sldMk cId="2919413864" sldId="1062"/>
        </pc:sldMkLst>
      </pc:sldChg>
      <pc:sldChg chg="modSp">
        <pc:chgData name="Laura Smith (DCP)" userId="04d996ad-c8c0-4279-84c0-115ebcf63bba" providerId="ADAL" clId="{F6B3F25C-E762-46FB-BD4F-2642FA97124F}" dt="2020-07-21T23:30:54.496" v="3776" actId="1036"/>
        <pc:sldMkLst>
          <pc:docMk/>
          <pc:sldMk cId="2415737977" sldId="1063"/>
        </pc:sldMkLst>
        <pc:spChg chg="mod">
          <ac:chgData name="Laura Smith (DCP)" userId="04d996ad-c8c0-4279-84c0-115ebcf63bba" providerId="ADAL" clId="{F6B3F25C-E762-46FB-BD4F-2642FA97124F}" dt="2020-07-21T15:39:48.237" v="317" actId="20577"/>
          <ac:spMkLst>
            <pc:docMk/>
            <pc:sldMk cId="2415737977" sldId="1063"/>
            <ac:spMk id="20" creationId="{F5A93634-EFB0-4F1D-8EB9-1AD5FF7384D9}"/>
          </ac:spMkLst>
        </pc:spChg>
        <pc:picChg chg="mod">
          <ac:chgData name="Laura Smith (DCP)" userId="04d996ad-c8c0-4279-84c0-115ebcf63bba" providerId="ADAL" clId="{F6B3F25C-E762-46FB-BD4F-2642FA97124F}" dt="2020-07-21T23:30:54.496" v="3776" actId="1036"/>
          <ac:picMkLst>
            <pc:docMk/>
            <pc:sldMk cId="2415737977" sldId="1063"/>
            <ac:picMk id="5" creationId="{8979EC0E-2467-40FB-8BB6-173E1984E623}"/>
          </ac:picMkLst>
        </pc:picChg>
        <pc:picChg chg="mod">
          <ac:chgData name="Laura Smith (DCP)" userId="04d996ad-c8c0-4279-84c0-115ebcf63bba" providerId="ADAL" clId="{F6B3F25C-E762-46FB-BD4F-2642FA97124F}" dt="2020-07-21T23:30:54.496" v="3776" actId="1036"/>
          <ac:picMkLst>
            <pc:docMk/>
            <pc:sldMk cId="2415737977" sldId="1063"/>
            <ac:picMk id="10" creationId="{9B396F71-6ED7-4BBF-AA58-DFD895F232DF}"/>
          </ac:picMkLst>
        </pc:picChg>
        <pc:picChg chg="mod">
          <ac:chgData name="Laura Smith (DCP)" userId="04d996ad-c8c0-4279-84c0-115ebcf63bba" providerId="ADAL" clId="{F6B3F25C-E762-46FB-BD4F-2642FA97124F}" dt="2020-07-21T23:30:54.496" v="3776" actId="1036"/>
          <ac:picMkLst>
            <pc:docMk/>
            <pc:sldMk cId="2415737977" sldId="1063"/>
            <ac:picMk id="11" creationId="{A399E93C-5CDC-4A90-905C-EAECA2B4F0B7}"/>
          </ac:picMkLst>
        </pc:picChg>
        <pc:picChg chg="mod">
          <ac:chgData name="Laura Smith (DCP)" userId="04d996ad-c8c0-4279-84c0-115ebcf63bba" providerId="ADAL" clId="{F6B3F25C-E762-46FB-BD4F-2642FA97124F}" dt="2020-07-21T23:30:54.496" v="3776" actId="1036"/>
          <ac:picMkLst>
            <pc:docMk/>
            <pc:sldMk cId="2415737977" sldId="1063"/>
            <ac:picMk id="12" creationId="{9D23B56C-C102-45EC-B1CB-BC616FF36774}"/>
          </ac:picMkLst>
        </pc:picChg>
      </pc:sldChg>
      <pc:sldChg chg="modSp">
        <pc:chgData name="Laura Smith (DCP)" userId="04d996ad-c8c0-4279-84c0-115ebcf63bba" providerId="ADAL" clId="{F6B3F25C-E762-46FB-BD4F-2642FA97124F}" dt="2020-07-21T23:00:49.075" v="3260" actId="1036"/>
        <pc:sldMkLst>
          <pc:docMk/>
          <pc:sldMk cId="2855638099" sldId="1089"/>
        </pc:sldMkLst>
        <pc:spChg chg="mod">
          <ac:chgData name="Laura Smith (DCP)" userId="04d996ad-c8c0-4279-84c0-115ebcf63bba" providerId="ADAL" clId="{F6B3F25C-E762-46FB-BD4F-2642FA97124F}" dt="2020-07-21T23:00:45.059" v="3256" actId="1036"/>
          <ac:spMkLst>
            <pc:docMk/>
            <pc:sldMk cId="2855638099" sldId="1089"/>
            <ac:spMk id="3" creationId="{B6A3976F-602B-4F59-BE0E-4AFBDEFDA2C1}"/>
          </ac:spMkLst>
        </pc:spChg>
        <pc:spChg chg="mod">
          <ac:chgData name="Laura Smith (DCP)" userId="04d996ad-c8c0-4279-84c0-115ebcf63bba" providerId="ADAL" clId="{F6B3F25C-E762-46FB-BD4F-2642FA97124F}" dt="2020-07-21T23:00:49.075" v="3260" actId="1036"/>
          <ac:spMkLst>
            <pc:docMk/>
            <pc:sldMk cId="2855638099" sldId="1089"/>
            <ac:spMk id="8" creationId="{B4306CB6-AC48-1546-B565-FD067D80C14C}"/>
          </ac:spMkLst>
        </pc:spChg>
      </pc:sldChg>
      <pc:sldChg chg="modSp delCm">
        <pc:chgData name="Laura Smith (DCP)" userId="04d996ad-c8c0-4279-84c0-115ebcf63bba" providerId="ADAL" clId="{F6B3F25C-E762-46FB-BD4F-2642FA97124F}" dt="2020-07-21T20:30:56.201" v="1449" actId="1592"/>
        <pc:sldMkLst>
          <pc:docMk/>
          <pc:sldMk cId="2535481493" sldId="1116"/>
        </pc:sldMkLst>
        <pc:spChg chg="mod">
          <ac:chgData name="Laura Smith (DCP)" userId="04d996ad-c8c0-4279-84c0-115ebcf63bba" providerId="ADAL" clId="{F6B3F25C-E762-46FB-BD4F-2642FA97124F}" dt="2020-07-21T20:30:53.842" v="1447" actId="20577"/>
          <ac:spMkLst>
            <pc:docMk/>
            <pc:sldMk cId="2535481493" sldId="1116"/>
            <ac:spMk id="8" creationId="{B4306CB6-AC48-1546-B565-FD067D80C14C}"/>
          </ac:spMkLst>
        </pc:spChg>
        <pc:graphicFrameChg chg="mod">
          <ac:chgData name="Laura Smith (DCP)" userId="04d996ad-c8c0-4279-84c0-115ebcf63bba" providerId="ADAL" clId="{F6B3F25C-E762-46FB-BD4F-2642FA97124F}" dt="2020-07-21T15:32:03.822" v="87" actId="1076"/>
          <ac:graphicFrameMkLst>
            <pc:docMk/>
            <pc:sldMk cId="2535481493" sldId="1116"/>
            <ac:graphicFrameMk id="7" creationId="{7CA9D784-8A66-BF44-A6EA-3D4DAC7EF62A}"/>
          </ac:graphicFrameMkLst>
        </pc:graphicFrameChg>
      </pc:sldChg>
      <pc:sldChg chg="modSp ord delCm">
        <pc:chgData name="Laura Smith (DCP)" userId="04d996ad-c8c0-4279-84c0-115ebcf63bba" providerId="ADAL" clId="{F6B3F25C-E762-46FB-BD4F-2642FA97124F}" dt="2020-07-21T22:57:28.661" v="3251" actId="20577"/>
        <pc:sldMkLst>
          <pc:docMk/>
          <pc:sldMk cId="423080654" sldId="1117"/>
        </pc:sldMkLst>
        <pc:spChg chg="mod">
          <ac:chgData name="Laura Smith (DCP)" userId="04d996ad-c8c0-4279-84c0-115ebcf63bba" providerId="ADAL" clId="{F6B3F25C-E762-46FB-BD4F-2642FA97124F}" dt="2020-07-21T20:29:22.956" v="1390" actId="255"/>
          <ac:spMkLst>
            <pc:docMk/>
            <pc:sldMk cId="423080654" sldId="1117"/>
            <ac:spMk id="8" creationId="{B4306CB6-AC48-1546-B565-FD067D80C14C}"/>
          </ac:spMkLst>
        </pc:spChg>
        <pc:spChg chg="mod">
          <ac:chgData name="Laura Smith (DCP)" userId="04d996ad-c8c0-4279-84c0-115ebcf63bba" providerId="ADAL" clId="{F6B3F25C-E762-46FB-BD4F-2642FA97124F}" dt="2020-07-21T16:07:22.429" v="383" actId="1037"/>
          <ac:spMkLst>
            <pc:docMk/>
            <pc:sldMk cId="423080654" sldId="1117"/>
            <ac:spMk id="14" creationId="{437F0068-2F47-8346-A239-A480DB4C0B54}"/>
          </ac:spMkLst>
        </pc:spChg>
        <pc:graphicFrameChg chg="mod">
          <ac:chgData name="Laura Smith (DCP)" userId="04d996ad-c8c0-4279-84c0-115ebcf63bba" providerId="ADAL" clId="{F6B3F25C-E762-46FB-BD4F-2642FA97124F}" dt="2020-07-21T22:57:28.661" v="3251" actId="20577"/>
          <ac:graphicFrameMkLst>
            <pc:docMk/>
            <pc:sldMk cId="423080654" sldId="1117"/>
            <ac:graphicFrameMk id="9" creationId="{CF9C6408-D442-3F4B-BC9E-BBA8FF4D2B0C}"/>
          </ac:graphicFrameMkLst>
        </pc:graphicFrameChg>
        <pc:graphicFrameChg chg="mod">
          <ac:chgData name="Laura Smith (DCP)" userId="04d996ad-c8c0-4279-84c0-115ebcf63bba" providerId="ADAL" clId="{F6B3F25C-E762-46FB-BD4F-2642FA97124F}" dt="2020-07-21T16:08:13.567" v="407" actId="1036"/>
          <ac:graphicFrameMkLst>
            <pc:docMk/>
            <pc:sldMk cId="423080654" sldId="1117"/>
            <ac:graphicFrameMk id="10" creationId="{CBDF49BE-05E1-D947-9E53-6A95B9817C41}"/>
          </ac:graphicFrameMkLst>
        </pc:graphicFrameChg>
      </pc:sldChg>
      <pc:sldChg chg="modSp ord delCm">
        <pc:chgData name="Laura Smith (DCP)" userId="04d996ad-c8c0-4279-84c0-115ebcf63bba" providerId="ADAL" clId="{F6B3F25C-E762-46FB-BD4F-2642FA97124F}" dt="2020-07-21T20:32:13.635" v="1515" actId="1592"/>
        <pc:sldMkLst>
          <pc:docMk/>
          <pc:sldMk cId="1462918329" sldId="1118"/>
        </pc:sldMkLst>
        <pc:spChg chg="mod">
          <ac:chgData name="Laura Smith (DCP)" userId="04d996ad-c8c0-4279-84c0-115ebcf63bba" providerId="ADAL" clId="{F6B3F25C-E762-46FB-BD4F-2642FA97124F}" dt="2020-07-21T20:32:03.117" v="1499" actId="20577"/>
          <ac:spMkLst>
            <pc:docMk/>
            <pc:sldMk cId="1462918329" sldId="1118"/>
            <ac:spMk id="6" creationId="{6112D5FE-E18B-6A43-BA78-7662CB7AF3D1}"/>
          </ac:spMkLst>
        </pc:spChg>
        <pc:spChg chg="mod">
          <ac:chgData name="Laura Smith (DCP)" userId="04d996ad-c8c0-4279-84c0-115ebcf63bba" providerId="ADAL" clId="{F6B3F25C-E762-46FB-BD4F-2642FA97124F}" dt="2020-07-21T15:33:49.334" v="125" actId="14100"/>
          <ac:spMkLst>
            <pc:docMk/>
            <pc:sldMk cId="1462918329" sldId="1118"/>
            <ac:spMk id="7" creationId="{5DD5AC5F-360F-8042-AE73-AF91185B9B19}"/>
          </ac:spMkLst>
        </pc:spChg>
        <pc:graphicFrameChg chg="mod">
          <ac:chgData name="Laura Smith (DCP)" userId="04d996ad-c8c0-4279-84c0-115ebcf63bba" providerId="ADAL" clId="{F6B3F25C-E762-46FB-BD4F-2642FA97124F}" dt="2020-07-21T20:32:10.412" v="1514" actId="20577"/>
          <ac:graphicFrameMkLst>
            <pc:docMk/>
            <pc:sldMk cId="1462918329" sldId="1118"/>
            <ac:graphicFrameMk id="9" creationId="{09E4867E-86BF-F842-86A3-FA8343B6AC69}"/>
          </ac:graphicFrameMkLst>
        </pc:graphicFrameChg>
        <pc:graphicFrameChg chg="mod">
          <ac:chgData name="Laura Smith (DCP)" userId="04d996ad-c8c0-4279-84c0-115ebcf63bba" providerId="ADAL" clId="{F6B3F25C-E762-46FB-BD4F-2642FA97124F}" dt="2020-07-21T15:33:18.717" v="105" actId="20577"/>
          <ac:graphicFrameMkLst>
            <pc:docMk/>
            <pc:sldMk cId="1462918329" sldId="1118"/>
            <ac:graphicFrameMk id="11" creationId="{9BDD3167-C185-E640-8474-A9E5E82FE47E}"/>
          </ac:graphicFrameMkLst>
        </pc:graphicFrameChg>
      </pc:sldChg>
      <pc:sldChg chg="modSp ord delCm">
        <pc:chgData name="Laura Smith (DCP)" userId="04d996ad-c8c0-4279-84c0-115ebcf63bba" providerId="ADAL" clId="{F6B3F25C-E762-46FB-BD4F-2642FA97124F}" dt="2020-07-21T22:56:47.029" v="3231" actId="1036"/>
        <pc:sldMkLst>
          <pc:docMk/>
          <pc:sldMk cId="2318289709" sldId="1119"/>
        </pc:sldMkLst>
        <pc:spChg chg="mod">
          <ac:chgData name="Laura Smith (DCP)" userId="04d996ad-c8c0-4279-84c0-115ebcf63bba" providerId="ADAL" clId="{F6B3F25C-E762-46FB-BD4F-2642FA97124F}" dt="2020-07-21T22:56:13.491" v="3214" actId="14100"/>
          <ac:spMkLst>
            <pc:docMk/>
            <pc:sldMk cId="2318289709" sldId="1119"/>
            <ac:spMk id="6" creationId="{6112D5FE-E18B-6A43-BA78-7662CB7AF3D1}"/>
          </ac:spMkLst>
        </pc:spChg>
        <pc:spChg chg="mod">
          <ac:chgData name="Laura Smith (DCP)" userId="04d996ad-c8c0-4279-84c0-115ebcf63bba" providerId="ADAL" clId="{F6B3F25C-E762-46FB-BD4F-2642FA97124F}" dt="2020-07-21T22:56:47.029" v="3231" actId="1036"/>
          <ac:spMkLst>
            <pc:docMk/>
            <pc:sldMk cId="2318289709" sldId="1119"/>
            <ac:spMk id="7" creationId="{5DD5AC5F-360F-8042-AE73-AF91185B9B19}"/>
          </ac:spMkLst>
        </pc:spChg>
        <pc:graphicFrameChg chg="mod">
          <ac:chgData name="Laura Smith (DCP)" userId="04d996ad-c8c0-4279-84c0-115ebcf63bba" providerId="ADAL" clId="{F6B3F25C-E762-46FB-BD4F-2642FA97124F}" dt="2020-07-21T16:08:03.521" v="391" actId="1037"/>
          <ac:graphicFrameMkLst>
            <pc:docMk/>
            <pc:sldMk cId="2318289709" sldId="1119"/>
            <ac:graphicFrameMk id="11" creationId="{013EBD7A-8F34-E341-9996-60CA6B2E0C8E}"/>
          </ac:graphicFrameMkLst>
        </pc:graphicFrameChg>
      </pc:sldChg>
      <pc:sldChg chg="modSp add">
        <pc:chgData name="Laura Smith (DCP)" userId="04d996ad-c8c0-4279-84c0-115ebcf63bba" providerId="ADAL" clId="{F6B3F25C-E762-46FB-BD4F-2642FA97124F}" dt="2020-07-21T15:35:15.342" v="224" actId="6549"/>
        <pc:sldMkLst>
          <pc:docMk/>
          <pc:sldMk cId="2994150762" sldId="1122"/>
        </pc:sldMkLst>
        <pc:spChg chg="mod">
          <ac:chgData name="Laura Smith (DCP)" userId="04d996ad-c8c0-4279-84c0-115ebcf63bba" providerId="ADAL" clId="{F6B3F25C-E762-46FB-BD4F-2642FA97124F}" dt="2020-07-21T15:35:15.342" v="224" actId="6549"/>
          <ac:spMkLst>
            <pc:docMk/>
            <pc:sldMk cId="2994150762" sldId="1122"/>
            <ac:spMk id="3" creationId="{A4C01C3F-C0B2-456F-B311-5C15E2D429E6}"/>
          </ac:spMkLst>
        </pc:spChg>
      </pc:sldChg>
    </pc:docChg>
  </pc:docChgLst>
  <pc:docChgLst>
    <pc:chgData clId="Web-{77CA7621-131E-A935-A061-919A7D08BE9B}"/>
    <pc:docChg chg="modSld">
      <pc:chgData name="" userId="" providerId="" clId="Web-{77CA7621-131E-A935-A061-919A7D08BE9B}" dt="2020-07-28T17:17:43.403" v="17" actId="1076"/>
      <pc:docMkLst>
        <pc:docMk/>
      </pc:docMkLst>
    </pc:docChg>
  </pc:docChgLst>
  <pc:docChgLst>
    <pc:chgData name="Fangnan Du (DCP)" userId="50de7b9d-879b-4fbd-a8e5-64ec99cdf932" providerId="ADAL" clId="{D6D3AAA0-22ED-4CC4-A1DA-8F7BAAC0D624}"/>
    <pc:docChg chg="undo custSel addSld delSld modSld">
      <pc:chgData name="Fangnan Du (DCP)" userId="50de7b9d-879b-4fbd-a8e5-64ec99cdf932" providerId="ADAL" clId="{D6D3AAA0-22ED-4CC4-A1DA-8F7BAAC0D624}" dt="2020-08-11T20:31:41.596" v="252" actId="207"/>
      <pc:docMkLst>
        <pc:docMk/>
      </pc:docMkLst>
      <pc:sldChg chg="mod">
        <pc:chgData name="Fangnan Du (DCP)" userId="50de7b9d-879b-4fbd-a8e5-64ec99cdf932" providerId="ADAL" clId="{D6D3AAA0-22ED-4CC4-A1DA-8F7BAAC0D624}" dt="2020-08-11T18:02:04.797" v="39" actId="27918"/>
        <pc:sldMkLst>
          <pc:docMk/>
          <pc:sldMk cId="1905173972" sldId="1021"/>
        </pc:sldMkLst>
      </pc:sldChg>
      <pc:sldChg chg="del">
        <pc:chgData name="Fangnan Du (DCP)" userId="50de7b9d-879b-4fbd-a8e5-64ec99cdf932" providerId="ADAL" clId="{D6D3AAA0-22ED-4CC4-A1DA-8F7BAAC0D624}" dt="2020-08-11T01:32:07.867" v="0" actId="47"/>
        <pc:sldMkLst>
          <pc:docMk/>
          <pc:sldMk cId="368308764" sldId="1135"/>
        </pc:sldMkLst>
      </pc:sldChg>
      <pc:sldChg chg="modSp mod">
        <pc:chgData name="Fangnan Du (DCP)" userId="50de7b9d-879b-4fbd-a8e5-64ec99cdf932" providerId="ADAL" clId="{D6D3AAA0-22ED-4CC4-A1DA-8F7BAAC0D624}" dt="2020-08-11T01:47:07.458" v="32" actId="1076"/>
        <pc:sldMkLst>
          <pc:docMk/>
          <pc:sldMk cId="687598378" sldId="1138"/>
        </pc:sldMkLst>
        <pc:spChg chg="mod">
          <ac:chgData name="Fangnan Du (DCP)" userId="50de7b9d-879b-4fbd-a8e5-64ec99cdf932" providerId="ADAL" clId="{D6D3AAA0-22ED-4CC4-A1DA-8F7BAAC0D624}" dt="2020-08-11T01:38:58.524" v="6" actId="1076"/>
          <ac:spMkLst>
            <pc:docMk/>
            <pc:sldMk cId="687598378" sldId="1138"/>
            <ac:spMk id="16" creationId="{B2FB1AD5-DED7-4EA2-B18F-76DF2EFACB5E}"/>
          </ac:spMkLst>
        </pc:spChg>
        <pc:spChg chg="mod">
          <ac:chgData name="Fangnan Du (DCP)" userId="50de7b9d-879b-4fbd-a8e5-64ec99cdf932" providerId="ADAL" clId="{D6D3AAA0-22ED-4CC4-A1DA-8F7BAAC0D624}" dt="2020-08-11T01:47:07.458" v="32" actId="1076"/>
          <ac:spMkLst>
            <pc:docMk/>
            <pc:sldMk cId="687598378" sldId="1138"/>
            <ac:spMk id="20" creationId="{CB5836FA-D5B1-47D5-B48D-DC03120E8764}"/>
          </ac:spMkLst>
        </pc:spChg>
      </pc:sldChg>
      <pc:sldChg chg="addSp delSp modSp add mod">
        <pc:chgData name="Fangnan Du (DCP)" userId="50de7b9d-879b-4fbd-a8e5-64ec99cdf932" providerId="ADAL" clId="{D6D3AAA0-22ED-4CC4-A1DA-8F7BAAC0D624}" dt="2020-08-11T20:31:41.596" v="252" actId="207"/>
        <pc:sldMkLst>
          <pc:docMk/>
          <pc:sldMk cId="2319426148" sldId="1139"/>
        </pc:sldMkLst>
        <pc:spChg chg="mod">
          <ac:chgData name="Fangnan Du (DCP)" userId="50de7b9d-879b-4fbd-a8e5-64ec99cdf932" providerId="ADAL" clId="{D6D3AAA0-22ED-4CC4-A1DA-8F7BAAC0D624}" dt="2020-08-11T20:24:52.174" v="59" actId="20577"/>
          <ac:spMkLst>
            <pc:docMk/>
            <pc:sldMk cId="2319426148" sldId="1139"/>
            <ac:spMk id="2" creationId="{AFF6A9B6-BBBB-4C91-BB36-53BD5FAB6C0D}"/>
          </ac:spMkLst>
        </pc:spChg>
        <pc:spChg chg="mod">
          <ac:chgData name="Fangnan Du (DCP)" userId="50de7b9d-879b-4fbd-a8e5-64ec99cdf932" providerId="ADAL" clId="{D6D3AAA0-22ED-4CC4-A1DA-8F7BAAC0D624}" dt="2020-08-11T20:31:41.596" v="252" actId="207"/>
          <ac:spMkLst>
            <pc:docMk/>
            <pc:sldMk cId="2319426148" sldId="1139"/>
            <ac:spMk id="6" creationId="{6112D5FE-E18B-6A43-BA78-7662CB7AF3D1}"/>
          </ac:spMkLst>
        </pc:spChg>
        <pc:spChg chg="add">
          <ac:chgData name="Fangnan Du (DCP)" userId="50de7b9d-879b-4fbd-a8e5-64ec99cdf932" providerId="ADAL" clId="{D6D3AAA0-22ED-4CC4-A1DA-8F7BAAC0D624}" dt="2020-08-11T20:28:27.725" v="79" actId="22"/>
          <ac:spMkLst>
            <pc:docMk/>
            <pc:sldMk cId="2319426148" sldId="1139"/>
            <ac:spMk id="9" creationId="{2E5C5133-00E0-4680-A62F-DF2DCA7E9D57}"/>
          </ac:spMkLst>
        </pc:spChg>
        <pc:spChg chg="del">
          <ac:chgData name="Fangnan Du (DCP)" userId="50de7b9d-879b-4fbd-a8e5-64ec99cdf932" providerId="ADAL" clId="{D6D3AAA0-22ED-4CC4-A1DA-8F7BAAC0D624}" dt="2020-08-11T20:28:26.728" v="78" actId="478"/>
          <ac:spMkLst>
            <pc:docMk/>
            <pc:sldMk cId="2319426148" sldId="1139"/>
            <ac:spMk id="10" creationId="{FE15DC25-7282-4E24-BEC3-A8CE6DA6D05B}"/>
          </ac:spMkLst>
        </pc:spChg>
        <pc:graphicFrameChg chg="add mod">
          <ac:chgData name="Fangnan Du (DCP)" userId="50de7b9d-879b-4fbd-a8e5-64ec99cdf932" providerId="ADAL" clId="{D6D3AAA0-22ED-4CC4-A1DA-8F7BAAC0D624}" dt="2020-08-11T20:28:33.011" v="80" actId="14100"/>
          <ac:graphicFrameMkLst>
            <pc:docMk/>
            <pc:sldMk cId="2319426148" sldId="1139"/>
            <ac:graphicFrameMk id="3" creationId="{B04BA787-2DCD-4FEF-B991-04FF6BCE53D9}"/>
          </ac:graphicFrameMkLst>
        </pc:graphicFrameChg>
        <pc:graphicFrameChg chg="add del">
          <ac:chgData name="Fangnan Du (DCP)" userId="50de7b9d-879b-4fbd-a8e5-64ec99cdf932" providerId="ADAL" clId="{D6D3AAA0-22ED-4CC4-A1DA-8F7BAAC0D624}" dt="2020-08-11T20:28:12.145" v="75" actId="22"/>
          <ac:graphicFrameMkLst>
            <pc:docMk/>
            <pc:sldMk cId="2319426148" sldId="1139"/>
            <ac:graphicFrameMk id="5" creationId="{77BAA7D6-F441-48EF-9B92-F0A2A56200C7}"/>
          </ac:graphicFrameMkLst>
        </pc:graphicFrameChg>
        <pc:graphicFrameChg chg="del mod">
          <ac:chgData name="Fangnan Du (DCP)" userId="50de7b9d-879b-4fbd-a8e5-64ec99cdf932" providerId="ADAL" clId="{D6D3AAA0-22ED-4CC4-A1DA-8F7BAAC0D624}" dt="2020-08-11T20:28:13.616" v="76" actId="478"/>
          <ac:graphicFrameMkLst>
            <pc:docMk/>
            <pc:sldMk cId="2319426148" sldId="1139"/>
            <ac:graphicFrameMk id="13" creationId="{68EDFA0D-7AE0-AF44-9360-4F25F694E1CE}"/>
          </ac:graphicFrameMkLst>
        </pc:graphicFrameChg>
      </pc:sldChg>
    </pc:docChg>
  </pc:docChgLst>
  <pc:docChgLst>
    <pc:chgData clId="Web-{9911877B-A2DA-70E6-459C-AF5CD1F79EA5}"/>
    <pc:docChg chg="modSld">
      <pc:chgData name="" userId="" providerId="" clId="Web-{9911877B-A2DA-70E6-459C-AF5CD1F79EA5}" dt="2020-07-28T16:48:26.427" v="7" actId="14100"/>
      <pc:docMkLst>
        <pc:docMk/>
      </pc:docMkLst>
      <pc:sldChg chg="addSp delSp modSp">
        <pc:chgData name="" userId="" providerId="" clId="Web-{9911877B-A2DA-70E6-459C-AF5CD1F79EA5}" dt="2020-07-28T16:48:26.427" v="7" actId="14100"/>
        <pc:sldMkLst>
          <pc:docMk/>
          <pc:sldMk cId="3338364421" sldId="1128"/>
        </pc:sldMkLst>
        <pc:picChg chg="add mod">
          <ac:chgData name="" userId="" providerId="" clId="Web-{9911877B-A2DA-70E6-459C-AF5CD1F79EA5}" dt="2020-07-28T16:46:54.342" v="3" actId="14100"/>
          <ac:picMkLst>
            <pc:docMk/>
            <pc:sldMk cId="3338364421" sldId="1128"/>
            <ac:picMk id="5" creationId="{A3906CEF-BE70-4025-865E-2E48F0924713}"/>
          </ac:picMkLst>
        </pc:picChg>
        <pc:picChg chg="add mod">
          <ac:chgData name="" userId="" providerId="" clId="Web-{9911877B-A2DA-70E6-459C-AF5CD1F79EA5}" dt="2020-07-28T16:48:26.427" v="7" actId="14100"/>
          <ac:picMkLst>
            <pc:docMk/>
            <pc:sldMk cId="3338364421" sldId="1128"/>
            <ac:picMk id="9" creationId="{6D126717-BAC9-402F-AE7A-0E15454AE1D1}"/>
          </ac:picMkLst>
        </pc:picChg>
        <pc:picChg chg="del">
          <ac:chgData name="" userId="" providerId="" clId="Web-{9911877B-A2DA-70E6-459C-AF5CD1F79EA5}" dt="2020-07-28T16:48:17.880" v="5"/>
          <ac:picMkLst>
            <pc:docMk/>
            <pc:sldMk cId="3338364421" sldId="1128"/>
            <ac:picMk id="11" creationId="{814F77D8-63E0-408D-822F-D007DE3FF618}"/>
          </ac:picMkLst>
        </pc:picChg>
        <pc:picChg chg="del">
          <ac:chgData name="" userId="" providerId="" clId="Web-{9911877B-A2DA-70E6-459C-AF5CD1F79EA5}" dt="2020-07-28T16:46:48.904" v="1"/>
          <ac:picMkLst>
            <pc:docMk/>
            <pc:sldMk cId="3338364421" sldId="1128"/>
            <ac:picMk id="12" creationId="{D6E8FEBF-8CBC-4C51-8E5F-5294DA3A8A81}"/>
          </ac:picMkLst>
        </pc:picChg>
      </pc:sldChg>
    </pc:docChg>
  </pc:docChgLst>
  <pc:docChgLst>
    <pc:chgData clId="Web-{B12BFC0A-53A8-9E1B-F345-7B1E3AEE74DC}"/>
    <pc:docChg chg="modSld">
      <pc:chgData name="" userId="" providerId="" clId="Web-{B12BFC0A-53A8-9E1B-F345-7B1E3AEE74DC}" dt="2020-07-14T19:27:12.301" v="3" actId="1076"/>
      <pc:docMkLst>
        <pc:docMk/>
      </pc:docMkLst>
    </pc:docChg>
  </pc:docChgLst>
  <pc:docChgLst>
    <pc:chgData clId="Web-{A0CA226D-DB0F-F5CB-3B71-F3A0C783BAEE}"/>
    <pc:docChg chg="modSld">
      <pc:chgData name="" userId="" providerId="" clId="Web-{A0CA226D-DB0F-F5CB-3B71-F3A0C783BAEE}" dt="2020-08-11T15:57:34.141" v="0"/>
      <pc:docMkLst>
        <pc:docMk/>
      </pc:docMkLst>
      <pc:sldChg chg="modNotes">
        <pc:chgData name="" userId="" providerId="" clId="Web-{A0CA226D-DB0F-F5CB-3B71-F3A0C783BAEE}" dt="2020-08-11T15:57:34.141" v="0"/>
        <pc:sldMkLst>
          <pc:docMk/>
          <pc:sldMk cId="3338364421" sldId="1128"/>
        </pc:sldMkLst>
      </pc:sldChg>
    </pc:docChg>
  </pc:docChgLst>
  <pc:docChgLst>
    <pc:chgData name="Fangnan Du (DCP)" userId="50de7b9d-879b-4fbd-a8e5-64ec99cdf932" providerId="ADAL" clId="{664F6052-5049-4F6A-AB95-8B9EBA748F99}"/>
    <pc:docChg chg="undo custSel addSld delSld modSld">
      <pc:chgData name="Fangnan Du (DCP)" userId="50de7b9d-879b-4fbd-a8e5-64ec99cdf932" providerId="ADAL" clId="{664F6052-5049-4F6A-AB95-8B9EBA748F99}" dt="2020-08-04T23:43:41.225" v="2177" actId="1076"/>
      <pc:docMkLst>
        <pc:docMk/>
      </pc:docMkLst>
      <pc:sldChg chg="modSp mod modCm">
        <pc:chgData name="Fangnan Du (DCP)" userId="50de7b9d-879b-4fbd-a8e5-64ec99cdf932" providerId="ADAL" clId="{664F6052-5049-4F6A-AB95-8B9EBA748F99}" dt="2020-08-04T21:23:29.864" v="2108"/>
        <pc:sldMkLst>
          <pc:docMk/>
          <pc:sldMk cId="1905173972" sldId="1021"/>
        </pc:sldMkLst>
        <pc:graphicFrameChg chg="mod">
          <ac:chgData name="Fangnan Du (DCP)" userId="50de7b9d-879b-4fbd-a8e5-64ec99cdf932" providerId="ADAL" clId="{664F6052-5049-4F6A-AB95-8B9EBA748F99}" dt="2020-08-04T17:57:36.814" v="15" actId="1076"/>
          <ac:graphicFrameMkLst>
            <pc:docMk/>
            <pc:sldMk cId="1905173972" sldId="1021"/>
            <ac:graphicFrameMk id="9" creationId="{E20C45EC-BE3F-467E-BF4C-DA873D893AC3}"/>
          </ac:graphicFrameMkLst>
        </pc:graphicFrameChg>
        <pc:graphicFrameChg chg="mod">
          <ac:chgData name="Fangnan Du (DCP)" userId="50de7b9d-879b-4fbd-a8e5-64ec99cdf932" providerId="ADAL" clId="{664F6052-5049-4F6A-AB95-8B9EBA748F99}" dt="2020-08-04T17:58:25.638" v="29" actId="1076"/>
          <ac:graphicFrameMkLst>
            <pc:docMk/>
            <pc:sldMk cId="1905173972" sldId="1021"/>
            <ac:graphicFrameMk id="13" creationId="{C3DE53ED-442A-4758-AE52-39553F93F170}"/>
          </ac:graphicFrameMkLst>
        </pc:graphicFrameChg>
        <pc:graphicFrameChg chg="mod">
          <ac:chgData name="Fangnan Du (DCP)" userId="50de7b9d-879b-4fbd-a8e5-64ec99cdf932" providerId="ADAL" clId="{664F6052-5049-4F6A-AB95-8B9EBA748F99}" dt="2020-08-04T17:57:40.663" v="16" actId="14100"/>
          <ac:graphicFrameMkLst>
            <pc:docMk/>
            <pc:sldMk cId="1905173972" sldId="1021"/>
            <ac:graphicFrameMk id="20" creationId="{ABDA0456-7318-47A9-96BE-520D8CD1B3DC}"/>
          </ac:graphicFrameMkLst>
        </pc:graphicFrameChg>
      </pc:sldChg>
      <pc:sldChg chg="addSp delSp modSp add mod">
        <pc:chgData name="Fangnan Du (DCP)" userId="50de7b9d-879b-4fbd-a8e5-64ec99cdf932" providerId="ADAL" clId="{664F6052-5049-4F6A-AB95-8B9EBA748F99}" dt="2020-08-04T23:43:41.225" v="2177" actId="1076"/>
        <pc:sldMkLst>
          <pc:docMk/>
          <pc:sldMk cId="368308764" sldId="1135"/>
        </pc:sldMkLst>
        <pc:spChg chg="mod">
          <ac:chgData name="Fangnan Du (DCP)" userId="50de7b9d-879b-4fbd-a8e5-64ec99cdf932" providerId="ADAL" clId="{664F6052-5049-4F6A-AB95-8B9EBA748F99}" dt="2020-08-04T18:35:38.954" v="57" actId="20577"/>
          <ac:spMkLst>
            <pc:docMk/>
            <pc:sldMk cId="368308764" sldId="1135"/>
            <ac:spMk id="2" creationId="{F93AA920-0651-44EC-BBA8-0541EDFD3A31}"/>
          </ac:spMkLst>
        </pc:spChg>
        <pc:spChg chg="add mod">
          <ac:chgData name="Fangnan Du (DCP)" userId="50de7b9d-879b-4fbd-a8e5-64ec99cdf932" providerId="ADAL" clId="{664F6052-5049-4F6A-AB95-8B9EBA748F99}" dt="2020-08-04T23:04:03.278" v="2148" actId="20577"/>
          <ac:spMkLst>
            <pc:docMk/>
            <pc:sldMk cId="368308764" sldId="1135"/>
            <ac:spMk id="3" creationId="{554134B2-6DC5-4143-826F-00BE0EBC83C7}"/>
          </ac:spMkLst>
        </pc:spChg>
        <pc:spChg chg="mod">
          <ac:chgData name="Fangnan Du (DCP)" userId="50de7b9d-879b-4fbd-a8e5-64ec99cdf932" providerId="ADAL" clId="{664F6052-5049-4F6A-AB95-8B9EBA748F99}" dt="2020-08-04T19:18:11.154" v="172" actId="1076"/>
          <ac:spMkLst>
            <pc:docMk/>
            <pc:sldMk cId="368308764" sldId="1135"/>
            <ac:spMk id="4" creationId="{529B8205-9844-43B4-AE5B-B4337E826F76}"/>
          </ac:spMkLst>
        </pc:spChg>
        <pc:spChg chg="add mod">
          <ac:chgData name="Fangnan Du (DCP)" userId="50de7b9d-879b-4fbd-a8e5-64ec99cdf932" providerId="ADAL" clId="{664F6052-5049-4F6A-AB95-8B9EBA748F99}" dt="2020-08-04T23:43:32.389" v="2174" actId="1076"/>
          <ac:spMkLst>
            <pc:docMk/>
            <pc:sldMk cId="368308764" sldId="1135"/>
            <ac:spMk id="4" creationId="{C83A39A5-0B11-4EA9-ACA0-7F329F5FC475}"/>
          </ac:spMkLst>
        </pc:spChg>
        <pc:spChg chg="add del mod">
          <ac:chgData name="Fangnan Du (DCP)" userId="50de7b9d-879b-4fbd-a8e5-64ec99cdf932" providerId="ADAL" clId="{664F6052-5049-4F6A-AB95-8B9EBA748F99}" dt="2020-08-04T19:34:06.664" v="1458" actId="478"/>
          <ac:spMkLst>
            <pc:docMk/>
            <pc:sldMk cId="368308764" sldId="1135"/>
            <ac:spMk id="5" creationId="{37CF91D2-1357-4EDC-B842-7587FC0C3B58}"/>
          </ac:spMkLst>
        </pc:spChg>
        <pc:spChg chg="del mod">
          <ac:chgData name="Fangnan Du (DCP)" userId="50de7b9d-879b-4fbd-a8e5-64ec99cdf932" providerId="ADAL" clId="{664F6052-5049-4F6A-AB95-8B9EBA748F99}" dt="2020-08-04T18:36:48.386" v="116" actId="478"/>
          <ac:spMkLst>
            <pc:docMk/>
            <pc:sldMk cId="368308764" sldId="1135"/>
            <ac:spMk id="6" creationId="{1249E74B-E190-4736-A20E-0C99AA4BAD6A}"/>
          </ac:spMkLst>
        </pc:spChg>
        <pc:spChg chg="del">
          <ac:chgData name="Fangnan Du (DCP)" userId="50de7b9d-879b-4fbd-a8e5-64ec99cdf932" providerId="ADAL" clId="{664F6052-5049-4F6A-AB95-8B9EBA748F99}" dt="2020-08-04T18:36:05.466" v="75" actId="478"/>
          <ac:spMkLst>
            <pc:docMk/>
            <pc:sldMk cId="368308764" sldId="1135"/>
            <ac:spMk id="8" creationId="{F8AE3CFC-E02A-424B-BA16-A59C4D274443}"/>
          </ac:spMkLst>
        </pc:spChg>
        <pc:spChg chg="del">
          <ac:chgData name="Fangnan Du (DCP)" userId="50de7b9d-879b-4fbd-a8e5-64ec99cdf932" providerId="ADAL" clId="{664F6052-5049-4F6A-AB95-8B9EBA748F99}" dt="2020-08-04T18:34:38.994" v="39" actId="478"/>
          <ac:spMkLst>
            <pc:docMk/>
            <pc:sldMk cId="368308764" sldId="1135"/>
            <ac:spMk id="10" creationId="{0AE3E517-48E9-4059-B496-45C19D659291}"/>
          </ac:spMkLst>
        </pc:spChg>
        <pc:spChg chg="del">
          <ac:chgData name="Fangnan Du (DCP)" userId="50de7b9d-879b-4fbd-a8e5-64ec99cdf932" providerId="ADAL" clId="{664F6052-5049-4F6A-AB95-8B9EBA748F99}" dt="2020-08-04T18:34:40.298" v="40" actId="478"/>
          <ac:spMkLst>
            <pc:docMk/>
            <pc:sldMk cId="368308764" sldId="1135"/>
            <ac:spMk id="12" creationId="{C2923E91-237F-49E8-AB9B-DF5555F627FC}"/>
          </ac:spMkLst>
        </pc:spChg>
        <pc:spChg chg="add mod">
          <ac:chgData name="Fangnan Du (DCP)" userId="50de7b9d-879b-4fbd-a8e5-64ec99cdf932" providerId="ADAL" clId="{664F6052-5049-4F6A-AB95-8B9EBA748F99}" dt="2020-08-04T20:28:01.087" v="1928" actId="1076"/>
          <ac:spMkLst>
            <pc:docMk/>
            <pc:sldMk cId="368308764" sldId="1135"/>
            <ac:spMk id="22" creationId="{54D9F9EA-0E85-40E9-A9F6-442B46776AE1}"/>
          </ac:spMkLst>
        </pc:spChg>
        <pc:spChg chg="del">
          <ac:chgData name="Fangnan Du (DCP)" userId="50de7b9d-879b-4fbd-a8e5-64ec99cdf932" providerId="ADAL" clId="{664F6052-5049-4F6A-AB95-8B9EBA748F99}" dt="2020-08-04T18:35:55.801" v="65" actId="478"/>
          <ac:spMkLst>
            <pc:docMk/>
            <pc:sldMk cId="368308764" sldId="1135"/>
            <ac:spMk id="26" creationId="{D9C1B1AB-8C38-4BFC-80BC-4C638D518391}"/>
          </ac:spMkLst>
        </pc:spChg>
        <pc:spChg chg="add mod">
          <ac:chgData name="Fangnan Du (DCP)" userId="50de7b9d-879b-4fbd-a8e5-64ec99cdf932" providerId="ADAL" clId="{664F6052-5049-4F6A-AB95-8B9EBA748F99}" dt="2020-08-04T23:43:41.225" v="2177" actId="1076"/>
          <ac:spMkLst>
            <pc:docMk/>
            <pc:sldMk cId="368308764" sldId="1135"/>
            <ac:spMk id="27" creationId="{2A8F05DE-E79C-4F3D-81D4-FB74762C63D5}"/>
          </ac:spMkLst>
        </pc:spChg>
        <pc:spChg chg="del">
          <ac:chgData name="Fangnan Du (DCP)" userId="50de7b9d-879b-4fbd-a8e5-64ec99cdf932" providerId="ADAL" clId="{664F6052-5049-4F6A-AB95-8B9EBA748F99}" dt="2020-08-04T18:35:56.369" v="66" actId="478"/>
          <ac:spMkLst>
            <pc:docMk/>
            <pc:sldMk cId="368308764" sldId="1135"/>
            <ac:spMk id="28" creationId="{EF5E28FD-0EEB-437C-82E4-246616C82BCF}"/>
          </ac:spMkLst>
        </pc:spChg>
        <pc:spChg chg="add mod">
          <ac:chgData name="Fangnan Du (DCP)" userId="50de7b9d-879b-4fbd-a8e5-64ec99cdf932" providerId="ADAL" clId="{664F6052-5049-4F6A-AB95-8B9EBA748F99}" dt="2020-08-04T20:33:07.917" v="1945" actId="20577"/>
          <ac:spMkLst>
            <pc:docMk/>
            <pc:sldMk cId="368308764" sldId="1135"/>
            <ac:spMk id="29" creationId="{3A7F612F-FF02-4635-BBCA-46D97F435F4F}"/>
          </ac:spMkLst>
        </pc:spChg>
        <pc:spChg chg="del">
          <ac:chgData name="Fangnan Du (DCP)" userId="50de7b9d-879b-4fbd-a8e5-64ec99cdf932" providerId="ADAL" clId="{664F6052-5049-4F6A-AB95-8B9EBA748F99}" dt="2020-08-04T18:35:56.881" v="67" actId="478"/>
          <ac:spMkLst>
            <pc:docMk/>
            <pc:sldMk cId="368308764" sldId="1135"/>
            <ac:spMk id="30" creationId="{FD69F502-60A0-4A3A-9DBC-474363D455AE}"/>
          </ac:spMkLst>
        </pc:spChg>
        <pc:spChg chg="add mod">
          <ac:chgData name="Fangnan Du (DCP)" userId="50de7b9d-879b-4fbd-a8e5-64ec99cdf932" providerId="ADAL" clId="{664F6052-5049-4F6A-AB95-8B9EBA748F99}" dt="2020-08-04T19:35:33.652" v="1497" actId="13926"/>
          <ac:spMkLst>
            <pc:docMk/>
            <pc:sldMk cId="368308764" sldId="1135"/>
            <ac:spMk id="31" creationId="{2E985DAE-7097-4D47-BB12-815B8F6760EE}"/>
          </ac:spMkLst>
        </pc:spChg>
        <pc:spChg chg="del">
          <ac:chgData name="Fangnan Du (DCP)" userId="50de7b9d-879b-4fbd-a8e5-64ec99cdf932" providerId="ADAL" clId="{664F6052-5049-4F6A-AB95-8B9EBA748F99}" dt="2020-08-04T18:35:57.689" v="68" actId="478"/>
          <ac:spMkLst>
            <pc:docMk/>
            <pc:sldMk cId="368308764" sldId="1135"/>
            <ac:spMk id="32" creationId="{2EBAFCA2-5E65-498D-869C-F8184EAC433A}"/>
          </ac:spMkLst>
        </pc:spChg>
        <pc:spChg chg="del mod">
          <ac:chgData name="Fangnan Du (DCP)" userId="50de7b9d-879b-4fbd-a8e5-64ec99cdf932" providerId="ADAL" clId="{664F6052-5049-4F6A-AB95-8B9EBA748F99}" dt="2020-08-04T23:43:27.707" v="2173" actId="478"/>
          <ac:spMkLst>
            <pc:docMk/>
            <pc:sldMk cId="368308764" sldId="1135"/>
            <ac:spMk id="34" creationId="{B26EC0C9-DC49-4C0E-A8C1-930B5928B53F}"/>
          </ac:spMkLst>
        </pc:spChg>
        <pc:spChg chg="mod">
          <ac:chgData name="Fangnan Du (DCP)" userId="50de7b9d-879b-4fbd-a8e5-64ec99cdf932" providerId="ADAL" clId="{664F6052-5049-4F6A-AB95-8B9EBA748F99}" dt="2020-08-04T19:26:19.311" v="620" actId="20577"/>
          <ac:spMkLst>
            <pc:docMk/>
            <pc:sldMk cId="368308764" sldId="1135"/>
            <ac:spMk id="39" creationId="{E71AE4D9-EAF9-41DE-B670-BB1AF6BD5FD7}"/>
          </ac:spMkLst>
        </pc:spChg>
        <pc:spChg chg="del">
          <ac:chgData name="Fangnan Du (DCP)" userId="50de7b9d-879b-4fbd-a8e5-64ec99cdf932" providerId="ADAL" clId="{664F6052-5049-4F6A-AB95-8B9EBA748F99}" dt="2020-08-04T18:35:49.753" v="61" actId="478"/>
          <ac:spMkLst>
            <pc:docMk/>
            <pc:sldMk cId="368308764" sldId="1135"/>
            <ac:spMk id="41" creationId="{7DA42216-836B-47C0-965E-0B5DDD43FA7C}"/>
          </ac:spMkLst>
        </pc:spChg>
        <pc:spChg chg="del">
          <ac:chgData name="Fangnan Du (DCP)" userId="50de7b9d-879b-4fbd-a8e5-64ec99cdf932" providerId="ADAL" clId="{664F6052-5049-4F6A-AB95-8B9EBA748F99}" dt="2020-08-04T19:24:31.191" v="361" actId="478"/>
          <ac:spMkLst>
            <pc:docMk/>
            <pc:sldMk cId="368308764" sldId="1135"/>
            <ac:spMk id="43" creationId="{6F05CE37-2E94-4BB0-8B0B-75275A692089}"/>
          </ac:spMkLst>
        </pc:spChg>
        <pc:picChg chg="add del mod">
          <ac:chgData name="Fangnan Du (DCP)" userId="50de7b9d-879b-4fbd-a8e5-64ec99cdf932" providerId="ADAL" clId="{664F6052-5049-4F6A-AB95-8B9EBA748F99}" dt="2020-08-04T23:34:41.002" v="2153" actId="478"/>
          <ac:picMkLst>
            <pc:docMk/>
            <pc:sldMk cId="368308764" sldId="1135"/>
            <ac:picMk id="6" creationId="{7AA7AD2F-4546-4145-8BEC-D64DF013288E}"/>
          </ac:picMkLst>
        </pc:picChg>
        <pc:picChg chg="add mod ord modCrop">
          <ac:chgData name="Fangnan Du (DCP)" userId="50de7b9d-879b-4fbd-a8e5-64ec99cdf932" providerId="ADAL" clId="{664F6052-5049-4F6A-AB95-8B9EBA748F99}" dt="2020-08-04T23:43:37.364" v="2176" actId="14100"/>
          <ac:picMkLst>
            <pc:docMk/>
            <pc:sldMk cId="368308764" sldId="1135"/>
            <ac:picMk id="8" creationId="{E2D6AC40-AA53-4EFC-835B-AFE216647437}"/>
          </ac:picMkLst>
        </pc:picChg>
        <pc:picChg chg="add del mod">
          <ac:chgData name="Fangnan Du (DCP)" userId="50de7b9d-879b-4fbd-a8e5-64ec99cdf932" providerId="ADAL" clId="{664F6052-5049-4F6A-AB95-8B9EBA748F99}" dt="2020-08-04T19:18:59.863" v="211" actId="478"/>
          <ac:picMkLst>
            <pc:docMk/>
            <pc:sldMk cId="368308764" sldId="1135"/>
            <ac:picMk id="9" creationId="{B07E3DF8-F252-42B1-926D-6A82E3A463AE}"/>
          </ac:picMkLst>
        </pc:picChg>
        <pc:picChg chg="del">
          <ac:chgData name="Fangnan Du (DCP)" userId="50de7b9d-879b-4fbd-a8e5-64ec99cdf932" providerId="ADAL" clId="{664F6052-5049-4F6A-AB95-8B9EBA748F99}" dt="2020-08-04T18:35:54.656" v="63" actId="478"/>
          <ac:picMkLst>
            <pc:docMk/>
            <pc:sldMk cId="368308764" sldId="1135"/>
            <ac:picMk id="11" creationId="{190AE535-EEFC-4E74-B524-2FE71A28AEE3}"/>
          </ac:picMkLst>
        </pc:picChg>
        <pc:picChg chg="add del mod">
          <ac:chgData name="Fangnan Du (DCP)" userId="50de7b9d-879b-4fbd-a8e5-64ec99cdf932" providerId="ADAL" clId="{664F6052-5049-4F6A-AB95-8B9EBA748F99}" dt="2020-08-04T23:42:11.346" v="2155" actId="478"/>
          <ac:picMkLst>
            <pc:docMk/>
            <pc:sldMk cId="368308764" sldId="1135"/>
            <ac:picMk id="14" creationId="{3993546B-F8E9-4A53-9350-A58999C3F195}"/>
          </ac:picMkLst>
        </pc:picChg>
        <pc:picChg chg="del">
          <ac:chgData name="Fangnan Du (DCP)" userId="50de7b9d-879b-4fbd-a8e5-64ec99cdf932" providerId="ADAL" clId="{664F6052-5049-4F6A-AB95-8B9EBA748F99}" dt="2020-08-04T18:35:54.282" v="62" actId="478"/>
          <ac:picMkLst>
            <pc:docMk/>
            <pc:sldMk cId="368308764" sldId="1135"/>
            <ac:picMk id="15" creationId="{D71EA1AC-91B9-41C6-AE65-396BF839616B}"/>
          </ac:picMkLst>
        </pc:picChg>
        <pc:picChg chg="add mod">
          <ac:chgData name="Fangnan Du (DCP)" userId="50de7b9d-879b-4fbd-a8e5-64ec99cdf932" providerId="ADAL" clId="{664F6052-5049-4F6A-AB95-8B9EBA748F99}" dt="2020-08-04T20:28:01.087" v="1928" actId="1076"/>
          <ac:picMkLst>
            <pc:docMk/>
            <pc:sldMk cId="368308764" sldId="1135"/>
            <ac:picMk id="17" creationId="{075B09FF-4D7B-4FFD-8DDB-8DCA273FA7FC}"/>
          </ac:picMkLst>
        </pc:picChg>
        <pc:picChg chg="del">
          <ac:chgData name="Fangnan Du (DCP)" userId="50de7b9d-879b-4fbd-a8e5-64ec99cdf932" providerId="ADAL" clId="{664F6052-5049-4F6A-AB95-8B9EBA748F99}" dt="2020-08-04T18:35:59.673" v="71" actId="478"/>
          <ac:picMkLst>
            <pc:docMk/>
            <pc:sldMk cId="368308764" sldId="1135"/>
            <ac:picMk id="20" creationId="{1FDEB7A5-7F73-4EAA-B85E-586B3E59826A}"/>
          </ac:picMkLst>
        </pc:picChg>
        <pc:picChg chg="add mod">
          <ac:chgData name="Fangnan Du (DCP)" userId="50de7b9d-879b-4fbd-a8e5-64ec99cdf932" providerId="ADAL" clId="{664F6052-5049-4F6A-AB95-8B9EBA748F99}" dt="2020-08-04T20:28:01.087" v="1928" actId="1076"/>
          <ac:picMkLst>
            <pc:docMk/>
            <pc:sldMk cId="368308764" sldId="1135"/>
            <ac:picMk id="21" creationId="{92CABC5E-BF22-4DDC-8D21-E9593D5A0A23}"/>
          </ac:picMkLst>
        </pc:picChg>
        <pc:picChg chg="del">
          <ac:chgData name="Fangnan Du (DCP)" userId="50de7b9d-879b-4fbd-a8e5-64ec99cdf932" providerId="ADAL" clId="{664F6052-5049-4F6A-AB95-8B9EBA748F99}" dt="2020-08-04T18:35:58.696" v="70" actId="478"/>
          <ac:picMkLst>
            <pc:docMk/>
            <pc:sldMk cId="368308764" sldId="1135"/>
            <ac:picMk id="23" creationId="{C32EBEFE-1C6B-47C8-B81B-4C3EEC2B38A7}"/>
          </ac:picMkLst>
        </pc:picChg>
        <pc:picChg chg="add mod">
          <ac:chgData name="Fangnan Du (DCP)" userId="50de7b9d-879b-4fbd-a8e5-64ec99cdf932" providerId="ADAL" clId="{664F6052-5049-4F6A-AB95-8B9EBA748F99}" dt="2020-08-04T23:43:41.225" v="2177" actId="1076"/>
          <ac:picMkLst>
            <pc:docMk/>
            <pc:sldMk cId="368308764" sldId="1135"/>
            <ac:picMk id="25" creationId="{475B1488-1031-4049-AC2F-B5E276B5281F}"/>
          </ac:picMkLst>
        </pc:picChg>
        <pc:picChg chg="del">
          <ac:chgData name="Fangnan Du (DCP)" userId="50de7b9d-879b-4fbd-a8e5-64ec99cdf932" providerId="ADAL" clId="{664F6052-5049-4F6A-AB95-8B9EBA748F99}" dt="2020-08-04T18:35:55.066" v="64" actId="478"/>
          <ac:picMkLst>
            <pc:docMk/>
            <pc:sldMk cId="368308764" sldId="1135"/>
            <ac:picMk id="51" creationId="{A5739BE9-AC22-4CD2-B0E9-050E3E7BB1E7}"/>
          </ac:picMkLst>
        </pc:picChg>
        <pc:picChg chg="del">
          <ac:chgData name="Fangnan Du (DCP)" userId="50de7b9d-879b-4fbd-a8e5-64ec99cdf932" providerId="ADAL" clId="{664F6052-5049-4F6A-AB95-8B9EBA748F99}" dt="2020-08-04T18:35:58.353" v="69" actId="478"/>
          <ac:picMkLst>
            <pc:docMk/>
            <pc:sldMk cId="368308764" sldId="1135"/>
            <ac:picMk id="53" creationId="{DC2ECCAC-616B-48B1-ABD7-D6853B6835A3}"/>
          </ac:picMkLst>
        </pc:picChg>
        <pc:cxnChg chg="del">
          <ac:chgData name="Fangnan Du (DCP)" userId="50de7b9d-879b-4fbd-a8e5-64ec99cdf932" providerId="ADAL" clId="{664F6052-5049-4F6A-AB95-8B9EBA748F99}" dt="2020-08-04T18:36:01.010" v="72" actId="478"/>
          <ac:cxnSpMkLst>
            <pc:docMk/>
            <pc:sldMk cId="368308764" sldId="1135"/>
            <ac:cxnSpMk id="36" creationId="{F741C14B-5F92-4218-9441-BD079578482E}"/>
          </ac:cxnSpMkLst>
        </pc:cxnChg>
      </pc:sldChg>
      <pc:sldChg chg="modSp add mod setBg">
        <pc:chgData name="Fangnan Du (DCP)" userId="50de7b9d-879b-4fbd-a8e5-64ec99cdf932" providerId="ADAL" clId="{664F6052-5049-4F6A-AB95-8B9EBA748F99}" dt="2020-08-04T22:54:39.725" v="2110" actId="1076"/>
        <pc:sldMkLst>
          <pc:docMk/>
          <pc:sldMk cId="687598378" sldId="1138"/>
        </pc:sldMkLst>
        <pc:spChg chg="mod">
          <ac:chgData name="Fangnan Du (DCP)" userId="50de7b9d-879b-4fbd-a8e5-64ec99cdf932" providerId="ADAL" clId="{664F6052-5049-4F6A-AB95-8B9EBA748F99}" dt="2020-08-04T21:12:16.098" v="2076" actId="20577"/>
          <ac:spMkLst>
            <pc:docMk/>
            <pc:sldMk cId="687598378" sldId="1138"/>
            <ac:spMk id="2" creationId="{F93AA920-0651-44EC-BBA8-0541EDFD3A31}"/>
          </ac:spMkLst>
        </pc:spChg>
        <pc:spChg chg="mod">
          <ac:chgData name="Fangnan Du (DCP)" userId="50de7b9d-879b-4fbd-a8e5-64ec99cdf932" providerId="ADAL" clId="{664F6052-5049-4F6A-AB95-8B9EBA748F99}" dt="2020-08-04T21:21:59.774" v="2107" actId="1076"/>
          <ac:spMkLst>
            <pc:docMk/>
            <pc:sldMk cId="687598378" sldId="1138"/>
            <ac:spMk id="16" creationId="{B2FB1AD5-DED7-4EA2-B18F-76DF2EFACB5E}"/>
          </ac:spMkLst>
        </pc:spChg>
        <pc:spChg chg="mod">
          <ac:chgData name="Fangnan Du (DCP)" userId="50de7b9d-879b-4fbd-a8e5-64ec99cdf932" providerId="ADAL" clId="{664F6052-5049-4F6A-AB95-8B9EBA748F99}" dt="2020-08-04T21:19:02.997" v="2091" actId="14100"/>
          <ac:spMkLst>
            <pc:docMk/>
            <pc:sldMk cId="687598378" sldId="1138"/>
            <ac:spMk id="18" creationId="{08A010C0-6360-4129-88AB-2D8D9D00DC5F}"/>
          </ac:spMkLst>
        </pc:spChg>
        <pc:spChg chg="mod">
          <ac:chgData name="Fangnan Du (DCP)" userId="50de7b9d-879b-4fbd-a8e5-64ec99cdf932" providerId="ADAL" clId="{664F6052-5049-4F6A-AB95-8B9EBA748F99}" dt="2020-08-04T22:54:39.725" v="2110" actId="1076"/>
          <ac:spMkLst>
            <pc:docMk/>
            <pc:sldMk cId="687598378" sldId="1138"/>
            <ac:spMk id="21" creationId="{E3F61305-6676-4E44-B23F-30514E270F91}"/>
          </ac:spMkLst>
        </pc:spChg>
        <pc:spChg chg="mod">
          <ac:chgData name="Fangnan Du (DCP)" userId="50de7b9d-879b-4fbd-a8e5-64ec99cdf932" providerId="ADAL" clId="{664F6052-5049-4F6A-AB95-8B9EBA748F99}" dt="2020-08-04T21:21:43.378" v="2103" actId="20577"/>
          <ac:spMkLst>
            <pc:docMk/>
            <pc:sldMk cId="687598378" sldId="1138"/>
            <ac:spMk id="26" creationId="{9340C978-5DFA-426C-969D-298BE95DBB4E}"/>
          </ac:spMkLst>
        </pc:spChg>
        <pc:spChg chg="mod">
          <ac:chgData name="Fangnan Du (DCP)" userId="50de7b9d-879b-4fbd-a8e5-64ec99cdf932" providerId="ADAL" clId="{664F6052-5049-4F6A-AB95-8B9EBA748F99}" dt="2020-08-04T21:11:49.888" v="2068" actId="313"/>
          <ac:spMkLst>
            <pc:docMk/>
            <pc:sldMk cId="687598378" sldId="1138"/>
            <ac:spMk id="30" creationId="{5E0ECE00-AE50-4327-83D6-8F62E825CE39}"/>
          </ac:spMkLst>
        </pc:spChg>
        <pc:graphicFrameChg chg="mod">
          <ac:chgData name="Fangnan Du (DCP)" userId="50de7b9d-879b-4fbd-a8e5-64ec99cdf932" providerId="ADAL" clId="{664F6052-5049-4F6A-AB95-8B9EBA748F99}" dt="2020-08-04T21:18:16.554" v="2085"/>
          <ac:graphicFrameMkLst>
            <pc:docMk/>
            <pc:sldMk cId="687598378" sldId="1138"/>
            <ac:graphicFrameMk id="7" creationId="{F3044F3E-48AD-49D1-BDBB-35D3163A2887}"/>
          </ac:graphicFrameMkLst>
        </pc:graphicFrameChg>
        <pc:cxnChg chg="mod">
          <ac:chgData name="Fangnan Du (DCP)" userId="50de7b9d-879b-4fbd-a8e5-64ec99cdf932" providerId="ADAL" clId="{664F6052-5049-4F6A-AB95-8B9EBA748F99}" dt="2020-08-04T21:18:02.360" v="2083" actId="14100"/>
          <ac:cxnSpMkLst>
            <pc:docMk/>
            <pc:sldMk cId="687598378" sldId="1138"/>
            <ac:cxnSpMk id="13" creationId="{E2F4727D-EA9E-426D-B940-FEB69CCDC4E8}"/>
          </ac:cxnSpMkLst>
        </pc:cxnChg>
        <pc:cxnChg chg="mod">
          <ac:chgData name="Fangnan Du (DCP)" userId="50de7b9d-879b-4fbd-a8e5-64ec99cdf932" providerId="ADAL" clId="{664F6052-5049-4F6A-AB95-8B9EBA748F99}" dt="2020-08-04T21:19:06.510" v="2092" actId="14100"/>
          <ac:cxnSpMkLst>
            <pc:docMk/>
            <pc:sldMk cId="687598378" sldId="1138"/>
            <ac:cxnSpMk id="22" creationId="{7BD1CA4C-8B40-4296-BF21-B4A894CF43EB}"/>
          </ac:cxnSpMkLst>
        </pc:cxnChg>
        <pc:cxnChg chg="mod">
          <ac:chgData name="Fangnan Du (DCP)" userId="50de7b9d-879b-4fbd-a8e5-64ec99cdf932" providerId="ADAL" clId="{664F6052-5049-4F6A-AB95-8B9EBA748F99}" dt="2020-08-04T21:17:57.845" v="2082" actId="14100"/>
          <ac:cxnSpMkLst>
            <pc:docMk/>
            <pc:sldMk cId="687598378" sldId="1138"/>
            <ac:cxnSpMk id="27" creationId="{B019829A-A18A-4D77-BDF4-78C49A3F2A21}"/>
          </ac:cxnSpMkLst>
        </pc:cxnChg>
      </pc:sldChg>
    </pc:docChg>
  </pc:docChgLst>
  <pc:docChgLst>
    <pc:chgData clId="Web-{1F71B13E-95C9-69EA-215F-89C5CD47C70A}"/>
    <pc:docChg chg="modSld">
      <pc:chgData name="" userId="" providerId="" clId="Web-{1F71B13E-95C9-69EA-215F-89C5CD47C70A}" dt="2020-08-11T21:39:59.620" v="3" actId="20577"/>
      <pc:docMkLst>
        <pc:docMk/>
      </pc:docMkLst>
      <pc:sldChg chg="modSp">
        <pc:chgData name="" userId="" providerId="" clId="Web-{1F71B13E-95C9-69EA-215F-89C5CD47C70A}" dt="2020-08-11T21:39:59.620" v="3" actId="20577"/>
        <pc:sldMkLst>
          <pc:docMk/>
          <pc:sldMk cId="1519931681" sldId="923"/>
        </pc:sldMkLst>
        <pc:spChg chg="mod">
          <ac:chgData name="" userId="" providerId="" clId="Web-{1F71B13E-95C9-69EA-215F-89C5CD47C70A}" dt="2020-08-11T21:39:59.620" v="3" actId="20577"/>
          <ac:spMkLst>
            <pc:docMk/>
            <pc:sldMk cId="1519931681" sldId="923"/>
            <ac:spMk id="25" creationId="{13B87C1F-74FA-7648-A5E7-2CB01BB275C1}"/>
          </ac:spMkLst>
        </pc:spChg>
      </pc:sldChg>
    </pc:docChg>
  </pc:docChgLst>
  <pc:docChgLst>
    <pc:chgData clId="Web-{99F51B72-5EEA-4379-D388-83D1F5CC0828}"/>
    <pc:docChg chg="modSld">
      <pc:chgData name="" userId="" providerId="" clId="Web-{99F51B72-5EEA-4379-D388-83D1F5CC0828}" dt="2020-07-21T21:23:58.546" v="1" actId="1076"/>
      <pc:docMkLst>
        <pc:docMk/>
      </pc:docMkLst>
    </pc:docChg>
  </pc:docChgLst>
  <pc:docChgLst>
    <pc:chgData clId="Web-{B9A0DE69-9C4A-C8EA-FAFD-33CEBBD05D45}"/>
    <pc:docChg chg="modSld">
      <pc:chgData name="" userId="" providerId="" clId="Web-{B9A0DE69-9C4A-C8EA-FAFD-33CEBBD05D45}" dt="2020-07-14T15:49:35.799" v="82" actId="20577"/>
      <pc:docMkLst>
        <pc:docMk/>
      </pc:docMkLst>
      <pc:sldChg chg="modSp">
        <pc:chgData name="" userId="" providerId="" clId="Web-{B9A0DE69-9C4A-C8EA-FAFD-33CEBBD05D45}" dt="2020-07-14T15:49:34.909" v="80" actId="20577"/>
        <pc:sldMkLst>
          <pc:docMk/>
          <pc:sldMk cId="3893609620" sldId="945"/>
        </pc:sldMkLst>
        <pc:spChg chg="mod">
          <ac:chgData name="" userId="" providerId="" clId="Web-{B9A0DE69-9C4A-C8EA-FAFD-33CEBBD05D45}" dt="2020-07-14T15:49:34.909" v="80" actId="20577"/>
          <ac:spMkLst>
            <pc:docMk/>
            <pc:sldMk cId="3893609620" sldId="945"/>
            <ac:spMk id="6" creationId="{7149FE0C-7597-4A77-B45B-9B8E1AA76B0A}"/>
          </ac:spMkLst>
        </pc:spChg>
      </pc:sldChg>
    </pc:docChg>
  </pc:docChgLst>
  <pc:docChgLst>
    <pc:chgData name="Conor Clarke (DCP)" userId="821f5e7e-11e6-4f72-8e49-84592080ebf7" providerId="ADAL" clId="{B14E6CC6-E70C-44FE-9E28-AA9D777E8342}"/>
    <pc:docChg chg="undo addSld delSld modSld modMainMaster">
      <pc:chgData name="Conor Clarke (DCP)" userId="821f5e7e-11e6-4f72-8e49-84592080ebf7" providerId="ADAL" clId="{B14E6CC6-E70C-44FE-9E28-AA9D777E8342}" dt="2020-08-06T15:33:22.696" v="111"/>
      <pc:docMkLst>
        <pc:docMk/>
      </pc:docMkLst>
      <pc:sldChg chg="addSp delSp modSp add mod">
        <pc:chgData name="Conor Clarke (DCP)" userId="821f5e7e-11e6-4f72-8e49-84592080ebf7" providerId="ADAL" clId="{B14E6CC6-E70C-44FE-9E28-AA9D777E8342}" dt="2020-08-04T20:09:38.377" v="82" actId="14100"/>
        <pc:sldMkLst>
          <pc:docMk/>
          <pc:sldMk cId="828195153" sldId="1043"/>
        </pc:sldMkLst>
        <pc:spChg chg="add del mod">
          <ac:chgData name="Conor Clarke (DCP)" userId="821f5e7e-11e6-4f72-8e49-84592080ebf7" providerId="ADAL" clId="{B14E6CC6-E70C-44FE-9E28-AA9D777E8342}" dt="2020-08-04T20:09:06.316" v="81" actId="20577"/>
          <ac:spMkLst>
            <pc:docMk/>
            <pc:sldMk cId="828195153" sldId="1043"/>
            <ac:spMk id="6" creationId="{566F1000-6C7A-E84A-BA94-F0F06058814B}"/>
          </ac:spMkLst>
        </pc:spChg>
        <pc:graphicFrameChg chg="del">
          <ac:chgData name="Conor Clarke (DCP)" userId="821f5e7e-11e6-4f72-8e49-84592080ebf7" providerId="ADAL" clId="{B14E6CC6-E70C-44FE-9E28-AA9D777E8342}" dt="2020-08-04T19:56:17.255" v="16" actId="478"/>
          <ac:graphicFrameMkLst>
            <pc:docMk/>
            <pc:sldMk cId="828195153" sldId="1043"/>
            <ac:graphicFrameMk id="11" creationId="{3BF46655-8560-4111-A417-CD6086DEEFDA}"/>
          </ac:graphicFrameMkLst>
        </pc:graphicFrameChg>
        <pc:graphicFrameChg chg="del">
          <ac:chgData name="Conor Clarke (DCP)" userId="821f5e7e-11e6-4f72-8e49-84592080ebf7" providerId="ADAL" clId="{B14E6CC6-E70C-44FE-9E28-AA9D777E8342}" dt="2020-08-04T19:55:05.508" v="7" actId="478"/>
          <ac:graphicFrameMkLst>
            <pc:docMk/>
            <pc:sldMk cId="828195153" sldId="1043"/>
            <ac:graphicFrameMk id="12" creationId="{802258F7-1F4F-47BB-84F9-E80EF936F3C6}"/>
          </ac:graphicFrameMkLst>
        </pc:graphicFrameChg>
        <pc:graphicFrameChg chg="add">
          <ac:chgData name="Conor Clarke (DCP)" userId="821f5e7e-11e6-4f72-8e49-84592080ebf7" providerId="ADAL" clId="{B14E6CC6-E70C-44FE-9E28-AA9D777E8342}" dt="2020-08-04T19:54:59.063" v="6"/>
          <ac:graphicFrameMkLst>
            <pc:docMk/>
            <pc:sldMk cId="828195153" sldId="1043"/>
            <ac:graphicFrameMk id="14" creationId="{802258F7-1F4F-47BB-84F9-E80EF936F3C6}"/>
          </ac:graphicFrameMkLst>
        </pc:graphicFrameChg>
        <pc:graphicFrameChg chg="add mod">
          <ac:chgData name="Conor Clarke (DCP)" userId="821f5e7e-11e6-4f72-8e49-84592080ebf7" providerId="ADAL" clId="{B14E6CC6-E70C-44FE-9E28-AA9D777E8342}" dt="2020-08-04T20:09:38.377" v="82" actId="14100"/>
          <ac:graphicFrameMkLst>
            <pc:docMk/>
            <pc:sldMk cId="828195153" sldId="1043"/>
            <ac:graphicFrameMk id="15" creationId="{802258F7-1F4F-47BB-84F9-E80EF936F3C6}"/>
          </ac:graphicFrameMkLst>
        </pc:graphicFrameChg>
        <pc:graphicFrameChg chg="add del mod">
          <ac:chgData name="Conor Clarke (DCP)" userId="821f5e7e-11e6-4f72-8e49-84592080ebf7" providerId="ADAL" clId="{B14E6CC6-E70C-44FE-9E28-AA9D777E8342}" dt="2020-08-04T20:08:19.935" v="77" actId="167"/>
          <ac:graphicFrameMkLst>
            <pc:docMk/>
            <pc:sldMk cId="828195153" sldId="1043"/>
            <ac:graphicFrameMk id="16" creationId="{3BF46655-8560-4111-A417-CD6086DEEFDA}"/>
          </ac:graphicFrameMkLst>
        </pc:graphicFrameChg>
        <pc:cxnChg chg="mod">
          <ac:chgData name="Conor Clarke (DCP)" userId="821f5e7e-11e6-4f72-8e49-84592080ebf7" providerId="ADAL" clId="{B14E6CC6-E70C-44FE-9E28-AA9D777E8342}" dt="2020-08-04T20:08:25.813" v="78" actId="14100"/>
          <ac:cxnSpMkLst>
            <pc:docMk/>
            <pc:sldMk cId="828195153" sldId="1043"/>
            <ac:cxnSpMk id="13" creationId="{EC763169-086F-6C43-ABAE-6673F1A3C2F5}"/>
          </ac:cxnSpMkLst>
        </pc:cxnChg>
      </pc:sldChg>
      <pc:sldChg chg="addSp delSp modSp">
        <pc:chgData name="Conor Clarke (DCP)" userId="821f5e7e-11e6-4f72-8e49-84592080ebf7" providerId="ADAL" clId="{B14E6CC6-E70C-44FE-9E28-AA9D777E8342}" dt="2020-08-04T20:15:08.032" v="89"/>
        <pc:sldMkLst>
          <pc:docMk/>
          <pc:sldMk cId="520716004" sldId="1058"/>
        </pc:sldMkLst>
        <pc:spChg chg="del">
          <ac:chgData name="Conor Clarke (DCP)" userId="821f5e7e-11e6-4f72-8e49-84592080ebf7" providerId="ADAL" clId="{B14E6CC6-E70C-44FE-9E28-AA9D777E8342}" dt="2020-08-04T20:15:08.032" v="89"/>
          <ac:spMkLst>
            <pc:docMk/>
            <pc:sldMk cId="520716004" sldId="1058"/>
            <ac:spMk id="3" creationId="{40146321-A582-4776-A098-1CF795EEEF8E}"/>
          </ac:spMkLst>
        </pc:spChg>
        <pc:spChg chg="del">
          <ac:chgData name="Conor Clarke (DCP)" userId="821f5e7e-11e6-4f72-8e49-84592080ebf7" providerId="ADAL" clId="{B14E6CC6-E70C-44FE-9E28-AA9D777E8342}" dt="2020-08-04T20:15:08.032" v="89"/>
          <ac:spMkLst>
            <pc:docMk/>
            <pc:sldMk cId="520716004" sldId="1058"/>
            <ac:spMk id="4" creationId="{A66F1884-AF28-47DE-82D0-61DA4C94ED85}"/>
          </ac:spMkLst>
        </pc:spChg>
        <pc:spChg chg="add del">
          <ac:chgData name="Conor Clarke (DCP)" userId="821f5e7e-11e6-4f72-8e49-84592080ebf7" providerId="ADAL" clId="{B14E6CC6-E70C-44FE-9E28-AA9D777E8342}" dt="2020-08-04T19:51:45.867" v="1"/>
          <ac:spMkLst>
            <pc:docMk/>
            <pc:sldMk cId="520716004" sldId="1058"/>
            <ac:spMk id="6" creationId="{F968938F-53BF-4F2F-A76B-8312DD88EED0}"/>
          </ac:spMkLst>
        </pc:spChg>
        <pc:spChg chg="add del">
          <ac:chgData name="Conor Clarke (DCP)" userId="821f5e7e-11e6-4f72-8e49-84592080ebf7" providerId="ADAL" clId="{B14E6CC6-E70C-44FE-9E28-AA9D777E8342}" dt="2020-08-04T19:52:01.851" v="3"/>
          <ac:spMkLst>
            <pc:docMk/>
            <pc:sldMk cId="520716004" sldId="1058"/>
            <ac:spMk id="7" creationId="{F42B9C7F-D1AD-4F80-8EA3-AC94D7608EB8}"/>
          </ac:spMkLst>
        </pc:spChg>
        <pc:spChg chg="add mod">
          <ac:chgData name="Conor Clarke (DCP)" userId="821f5e7e-11e6-4f72-8e49-84592080ebf7" providerId="ADAL" clId="{B14E6CC6-E70C-44FE-9E28-AA9D777E8342}" dt="2020-08-04T20:15:08.032" v="89"/>
          <ac:spMkLst>
            <pc:docMk/>
            <pc:sldMk cId="520716004" sldId="1058"/>
            <ac:spMk id="8" creationId="{7A976AC7-849F-4814-9305-32A95471B2CD}"/>
          </ac:spMkLst>
        </pc:spChg>
      </pc:sldChg>
      <pc:sldChg chg="addSp modSp">
        <pc:chgData name="Conor Clarke (DCP)" userId="821f5e7e-11e6-4f72-8e49-84592080ebf7" providerId="ADAL" clId="{B14E6CC6-E70C-44FE-9E28-AA9D777E8342}" dt="2020-08-04T20:15:58.253" v="91"/>
        <pc:sldMkLst>
          <pc:docMk/>
          <pc:sldMk cId="2855638099" sldId="1089"/>
        </pc:sldMkLst>
        <pc:spChg chg="add mod">
          <ac:chgData name="Conor Clarke (DCP)" userId="821f5e7e-11e6-4f72-8e49-84592080ebf7" providerId="ADAL" clId="{B14E6CC6-E70C-44FE-9E28-AA9D777E8342}" dt="2020-08-04T20:15:58.253" v="91"/>
          <ac:spMkLst>
            <pc:docMk/>
            <pc:sldMk cId="2855638099" sldId="1089"/>
            <ac:spMk id="7" creationId="{31C91EBD-E491-4F13-87DC-62A52AAFC99D}"/>
          </ac:spMkLst>
        </pc:spChg>
      </pc:sldChg>
      <pc:sldChg chg="addSp modSp">
        <pc:chgData name="Conor Clarke (DCP)" userId="821f5e7e-11e6-4f72-8e49-84592080ebf7" providerId="ADAL" clId="{B14E6CC6-E70C-44FE-9E28-AA9D777E8342}" dt="2020-08-04T20:15:25.290" v="90"/>
        <pc:sldMkLst>
          <pc:docMk/>
          <pc:sldMk cId="3089150047" sldId="1133"/>
        </pc:sldMkLst>
        <pc:spChg chg="add mod">
          <ac:chgData name="Conor Clarke (DCP)" userId="821f5e7e-11e6-4f72-8e49-84592080ebf7" providerId="ADAL" clId="{B14E6CC6-E70C-44FE-9E28-AA9D777E8342}" dt="2020-08-04T20:15:25.290" v="90"/>
          <ac:spMkLst>
            <pc:docMk/>
            <pc:sldMk cId="3089150047" sldId="1133"/>
            <ac:spMk id="3" creationId="{52598841-95D9-4AD2-9473-713A29E21625}"/>
          </ac:spMkLst>
        </pc:spChg>
      </pc:sldChg>
      <pc:sldChg chg="addSp delSp modSp">
        <pc:chgData name="Conor Clarke (DCP)" userId="821f5e7e-11e6-4f72-8e49-84592080ebf7" providerId="ADAL" clId="{B14E6CC6-E70C-44FE-9E28-AA9D777E8342}" dt="2020-08-06T15:30:34.214" v="109"/>
        <pc:sldMkLst>
          <pc:docMk/>
          <pc:sldMk cId="368308764" sldId="1135"/>
        </pc:sldMkLst>
        <pc:spChg chg="add del">
          <ac:chgData name="Conor Clarke (DCP)" userId="821f5e7e-11e6-4f72-8e49-84592080ebf7" providerId="ADAL" clId="{B14E6CC6-E70C-44FE-9E28-AA9D777E8342}" dt="2020-08-06T15:29:25.447" v="95"/>
          <ac:spMkLst>
            <pc:docMk/>
            <pc:sldMk cId="368308764" sldId="1135"/>
            <ac:spMk id="5" creationId="{599D46EB-A961-45D1-B0E4-3316B6680F1D}"/>
          </ac:spMkLst>
        </pc:spChg>
        <pc:spChg chg="add del">
          <ac:chgData name="Conor Clarke (DCP)" userId="821f5e7e-11e6-4f72-8e49-84592080ebf7" providerId="ADAL" clId="{B14E6CC6-E70C-44FE-9E28-AA9D777E8342}" dt="2020-08-06T15:29:41.861" v="97"/>
          <ac:spMkLst>
            <pc:docMk/>
            <pc:sldMk cId="368308764" sldId="1135"/>
            <ac:spMk id="6" creationId="{E38D691F-898D-409D-BA83-7D65DFB988D1}"/>
          </ac:spMkLst>
        </pc:spChg>
        <pc:spChg chg="add del mod">
          <ac:chgData name="Conor Clarke (DCP)" userId="821f5e7e-11e6-4f72-8e49-84592080ebf7" providerId="ADAL" clId="{B14E6CC6-E70C-44FE-9E28-AA9D777E8342}" dt="2020-08-06T15:29:56.931" v="103"/>
          <ac:spMkLst>
            <pc:docMk/>
            <pc:sldMk cId="368308764" sldId="1135"/>
            <ac:spMk id="7" creationId="{264BBE28-F0B1-4F66-A240-C67C4F157A4A}"/>
          </ac:spMkLst>
        </pc:spChg>
        <pc:spChg chg="add del mod">
          <ac:chgData name="Conor Clarke (DCP)" userId="821f5e7e-11e6-4f72-8e49-84592080ebf7" providerId="ADAL" clId="{B14E6CC6-E70C-44FE-9E28-AA9D777E8342}" dt="2020-08-06T15:30:24.433" v="107"/>
          <ac:spMkLst>
            <pc:docMk/>
            <pc:sldMk cId="368308764" sldId="1135"/>
            <ac:spMk id="9" creationId="{89C1198D-3157-4B7B-AC38-15A4570BCD4D}"/>
          </ac:spMkLst>
        </pc:spChg>
        <pc:spChg chg="add del">
          <ac:chgData name="Conor Clarke (DCP)" userId="821f5e7e-11e6-4f72-8e49-84592080ebf7" providerId="ADAL" clId="{B14E6CC6-E70C-44FE-9E28-AA9D777E8342}" dt="2020-08-06T15:30:34.214" v="109"/>
          <ac:spMkLst>
            <pc:docMk/>
            <pc:sldMk cId="368308764" sldId="1135"/>
            <ac:spMk id="10" creationId="{0F6167DB-7CCA-4D5F-9CF8-EADF6AE6C8BC}"/>
          </ac:spMkLst>
        </pc:spChg>
      </pc:sldChg>
      <pc:sldMasterChg chg="modSldLayout">
        <pc:chgData name="Conor Clarke (DCP)" userId="821f5e7e-11e6-4f72-8e49-84592080ebf7" providerId="ADAL" clId="{B14E6CC6-E70C-44FE-9E28-AA9D777E8342}" dt="2020-08-04T20:12:10.706" v="88" actId="14100"/>
        <pc:sldMasterMkLst>
          <pc:docMk/>
          <pc:sldMasterMk cId="0" sldId="2147483660"/>
        </pc:sldMasterMkLst>
        <pc:sldLayoutChg chg="modSp">
          <pc:chgData name="Conor Clarke (DCP)" userId="821f5e7e-11e6-4f72-8e49-84592080ebf7" providerId="ADAL" clId="{B14E6CC6-E70C-44FE-9E28-AA9D777E8342}" dt="2020-08-04T20:12:10.706" v="88" actId="14100"/>
          <pc:sldLayoutMkLst>
            <pc:docMk/>
            <pc:sldMasterMk cId="0" sldId="2147483660"/>
            <pc:sldLayoutMk cId="3643106017" sldId="2147483697"/>
          </pc:sldLayoutMkLst>
          <pc:picChg chg="mod">
            <ac:chgData name="Conor Clarke (DCP)" userId="821f5e7e-11e6-4f72-8e49-84592080ebf7" providerId="ADAL" clId="{B14E6CC6-E70C-44FE-9E28-AA9D777E8342}" dt="2020-08-04T20:12:10.706" v="88" actId="14100"/>
            <ac:picMkLst>
              <pc:docMk/>
              <pc:sldMasterMk cId="0" sldId="2147483660"/>
              <pc:sldLayoutMk cId="3643106017" sldId="2147483697"/>
              <ac:picMk id="16" creationId="{00000000-0000-0000-0000-000000000000}"/>
            </ac:picMkLst>
          </pc:picChg>
        </pc:sldLayoutChg>
      </pc:sldMasterChg>
    </pc:docChg>
  </pc:docChgLst>
  <pc:docChgLst>
    <pc:chgData name="Stephane Pierre (DCP)" userId="dc8579c3-b9ad-4a00-a438-b4c77f165554" providerId="ADAL" clId="{72E05928-67AF-E14D-986F-F30F0341A1D5}"/>
    <pc:docChg chg="undo custSel modSld">
      <pc:chgData name="Stephane Pierre (DCP)" userId="dc8579c3-b9ad-4a00-a438-b4c77f165554" providerId="ADAL" clId="{72E05928-67AF-E14D-986F-F30F0341A1D5}" dt="2020-07-07T21:35:41.739" v="1728" actId="5793"/>
      <pc:docMkLst>
        <pc:docMk/>
      </pc:docMkLst>
      <pc:sldChg chg="addSp delSp modSp mod">
        <pc:chgData name="Stephane Pierre (DCP)" userId="dc8579c3-b9ad-4a00-a438-b4c77f165554" providerId="ADAL" clId="{72E05928-67AF-E14D-986F-F30F0341A1D5}" dt="2020-07-07T20:12:31.610" v="544" actId="20577"/>
        <pc:sldMkLst>
          <pc:docMk/>
          <pc:sldMk cId="1519931681" sldId="923"/>
        </pc:sldMkLst>
        <pc:spChg chg="mod">
          <ac:chgData name="Stephane Pierre (DCP)" userId="dc8579c3-b9ad-4a00-a438-b4c77f165554" providerId="ADAL" clId="{72E05928-67AF-E14D-986F-F30F0341A1D5}" dt="2020-07-07T18:25:17.220" v="30" actId="1076"/>
          <ac:spMkLst>
            <pc:docMk/>
            <pc:sldMk cId="1519931681" sldId="923"/>
            <ac:spMk id="4" creationId="{138D6259-165E-864B-924B-F615A4773A0E}"/>
          </ac:spMkLst>
        </pc:spChg>
        <pc:spChg chg="del">
          <ac:chgData name="Stephane Pierre (DCP)" userId="dc8579c3-b9ad-4a00-a438-b4c77f165554" providerId="ADAL" clId="{72E05928-67AF-E14D-986F-F30F0341A1D5}" dt="2020-07-07T18:20:42.490" v="0" actId="478"/>
          <ac:spMkLst>
            <pc:docMk/>
            <pc:sldMk cId="1519931681" sldId="923"/>
            <ac:spMk id="10" creationId="{27FE7DEA-D9F5-2C42-8121-A5DED4FC286A}"/>
          </ac:spMkLst>
        </pc:spChg>
        <pc:spChg chg="mod">
          <ac:chgData name="Stephane Pierre (DCP)" userId="dc8579c3-b9ad-4a00-a438-b4c77f165554" providerId="ADAL" clId="{72E05928-67AF-E14D-986F-F30F0341A1D5}" dt="2020-07-07T20:12:31.610" v="544" actId="20577"/>
          <ac:spMkLst>
            <pc:docMk/>
            <pc:sldMk cId="1519931681" sldId="923"/>
            <ac:spMk id="25" creationId="{13B87C1F-74FA-7648-A5E7-2CB01BB275C1}"/>
          </ac:spMkLst>
        </pc:spChg>
        <pc:graphicFrameChg chg="add mod">
          <ac:chgData name="Stephane Pierre (DCP)" userId="dc8579c3-b9ad-4a00-a438-b4c77f165554" providerId="ADAL" clId="{72E05928-67AF-E14D-986F-F30F0341A1D5}" dt="2020-07-07T18:25:40.451" v="31" actId="1076"/>
          <ac:graphicFrameMkLst>
            <pc:docMk/>
            <pc:sldMk cId="1519931681" sldId="923"/>
            <ac:graphicFrameMk id="20" creationId="{A02ADCAF-7863-324A-9F02-208B1F40E7D2}"/>
          </ac:graphicFrameMkLst>
        </pc:graphicFrameChg>
        <pc:graphicFrameChg chg="del mod">
          <ac:chgData name="Stephane Pierre (DCP)" userId="dc8579c3-b9ad-4a00-a438-b4c77f165554" providerId="ADAL" clId="{72E05928-67AF-E14D-986F-F30F0341A1D5}" dt="2020-07-07T18:23:32.269" v="23" actId="478"/>
          <ac:graphicFrameMkLst>
            <pc:docMk/>
            <pc:sldMk cId="1519931681" sldId="923"/>
            <ac:graphicFrameMk id="30" creationId="{A02ADCAF-7863-324A-9F02-208B1F40E7D2}"/>
          </ac:graphicFrameMkLst>
        </pc:graphicFrameChg>
      </pc:sldChg>
    </pc:docChg>
  </pc:docChgLst>
  <pc:docChgLst>
    <pc:chgData name="Angela Bellisio (DCP)" userId="191d6709-c92d-4cc4-bbcb-8a110756faa6" providerId="ADAL" clId="{5EAAE8AD-258A-6E4C-8BB0-546059E2EDC1}"/>
    <pc:docChg chg="modSld">
      <pc:chgData name="Angela Bellisio (DCP)" userId="191d6709-c92d-4cc4-bbcb-8a110756faa6" providerId="ADAL" clId="{5EAAE8AD-258A-6E4C-8BB0-546059E2EDC1}" dt="2020-07-21T20:19:11.753" v="15" actId="20577"/>
      <pc:docMkLst>
        <pc:docMk/>
      </pc:docMkLst>
      <pc:sldChg chg="modSp">
        <pc:chgData name="Angela Bellisio (DCP)" userId="191d6709-c92d-4cc4-bbcb-8a110756faa6" providerId="ADAL" clId="{5EAAE8AD-258A-6E4C-8BB0-546059E2EDC1}" dt="2020-07-21T20:11:05.795" v="1" actId="20577"/>
        <pc:sldMkLst>
          <pc:docMk/>
          <pc:sldMk cId="3417640896" sldId="660"/>
        </pc:sldMkLst>
        <pc:spChg chg="mod">
          <ac:chgData name="Angela Bellisio (DCP)" userId="191d6709-c92d-4cc4-bbcb-8a110756faa6" providerId="ADAL" clId="{5EAAE8AD-258A-6E4C-8BB0-546059E2EDC1}" dt="2020-07-21T20:11:05.795" v="1" actId="20577"/>
          <ac:spMkLst>
            <pc:docMk/>
            <pc:sldMk cId="3417640896" sldId="660"/>
            <ac:spMk id="3" creationId="{D2AC686F-77B0-4B98-9400-AE95D8E98FF4}"/>
          </ac:spMkLst>
        </pc:spChg>
      </pc:sldChg>
      <pc:sldChg chg="modSp">
        <pc:chgData name="Angela Bellisio (DCP)" userId="191d6709-c92d-4cc4-bbcb-8a110756faa6" providerId="ADAL" clId="{5EAAE8AD-258A-6E4C-8BB0-546059E2EDC1}" dt="2020-07-21T20:19:11.753" v="15" actId="20577"/>
        <pc:sldMkLst>
          <pc:docMk/>
          <pc:sldMk cId="423080654" sldId="1117"/>
        </pc:sldMkLst>
        <pc:spChg chg="mod">
          <ac:chgData name="Angela Bellisio (DCP)" userId="191d6709-c92d-4cc4-bbcb-8a110756faa6" providerId="ADAL" clId="{5EAAE8AD-258A-6E4C-8BB0-546059E2EDC1}" dt="2020-07-21T20:19:11.753" v="15" actId="20577"/>
          <ac:spMkLst>
            <pc:docMk/>
            <pc:sldMk cId="423080654" sldId="1117"/>
            <ac:spMk id="8" creationId="{B4306CB6-AC48-1546-B565-FD067D80C14C}"/>
          </ac:spMkLst>
        </pc:spChg>
      </pc:sldChg>
      <pc:sldChg chg="modSp">
        <pc:chgData name="Angela Bellisio (DCP)" userId="191d6709-c92d-4cc4-bbcb-8a110756faa6" providerId="ADAL" clId="{5EAAE8AD-258A-6E4C-8BB0-546059E2EDC1}" dt="2020-07-21T20:19:03.003" v="14" actId="20577"/>
        <pc:sldMkLst>
          <pc:docMk/>
          <pc:sldMk cId="2318289709" sldId="1119"/>
        </pc:sldMkLst>
        <pc:spChg chg="mod">
          <ac:chgData name="Angela Bellisio (DCP)" userId="191d6709-c92d-4cc4-bbcb-8a110756faa6" providerId="ADAL" clId="{5EAAE8AD-258A-6E4C-8BB0-546059E2EDC1}" dt="2020-07-21T20:17:01.892" v="7" actId="20577"/>
          <ac:spMkLst>
            <pc:docMk/>
            <pc:sldMk cId="2318289709" sldId="1119"/>
            <ac:spMk id="2" creationId="{AFF6A9B6-BBBB-4C91-BB36-53BD5FAB6C0D}"/>
          </ac:spMkLst>
        </pc:spChg>
        <pc:spChg chg="mod">
          <ac:chgData name="Angela Bellisio (DCP)" userId="191d6709-c92d-4cc4-bbcb-8a110756faa6" providerId="ADAL" clId="{5EAAE8AD-258A-6E4C-8BB0-546059E2EDC1}" dt="2020-07-21T20:19:03.003" v="14" actId="20577"/>
          <ac:spMkLst>
            <pc:docMk/>
            <pc:sldMk cId="2318289709" sldId="1119"/>
            <ac:spMk id="6" creationId="{6112D5FE-E18B-6A43-BA78-7662CB7AF3D1}"/>
          </ac:spMkLst>
        </pc:spChg>
        <pc:graphicFrameChg chg="mod">
          <ac:chgData name="Angela Bellisio (DCP)" userId="191d6709-c92d-4cc4-bbcb-8a110756faa6" providerId="ADAL" clId="{5EAAE8AD-258A-6E4C-8BB0-546059E2EDC1}" dt="2020-07-21T20:17:11.893" v="10" actId="20577"/>
          <ac:graphicFrameMkLst>
            <pc:docMk/>
            <pc:sldMk cId="2318289709" sldId="1119"/>
            <ac:graphicFrameMk id="9" creationId="{314DAC1C-7548-AD43-847D-4D92A07546B4}"/>
          </ac:graphicFrameMkLst>
        </pc:graphicFrameChg>
      </pc:sldChg>
      <pc:sldChg chg="modSp">
        <pc:chgData name="Angela Bellisio (DCP)" userId="191d6709-c92d-4cc4-bbcb-8a110756faa6" providerId="ADAL" clId="{5EAAE8AD-258A-6E4C-8BB0-546059E2EDC1}" dt="2020-07-21T20:16:09.847" v="4" actId="20577"/>
        <pc:sldMkLst>
          <pc:docMk/>
          <pc:sldMk cId="2994150762" sldId="1122"/>
        </pc:sldMkLst>
        <pc:spChg chg="mod">
          <ac:chgData name="Angela Bellisio (DCP)" userId="191d6709-c92d-4cc4-bbcb-8a110756faa6" providerId="ADAL" clId="{5EAAE8AD-258A-6E4C-8BB0-546059E2EDC1}" dt="2020-07-21T20:16:09.847" v="4" actId="20577"/>
          <ac:spMkLst>
            <pc:docMk/>
            <pc:sldMk cId="2994150762" sldId="1122"/>
            <ac:spMk id="3" creationId="{A4C01C3F-C0B2-456F-B311-5C15E2D429E6}"/>
          </ac:spMkLst>
        </pc:spChg>
      </pc:sldChg>
    </pc:docChg>
  </pc:docChgLst>
  <pc:docChgLst>
    <pc:chgData name="Ruoran Lin (DCP)" userId="5ba63a2c-b5bc-4f17-a87a-a3a824a8af35" providerId="ADAL" clId="{15ACCAF1-809F-CF4E-AF90-44371B6094D7}"/>
    <pc:docChg chg="custSel addSld modSld">
      <pc:chgData name="Ruoran Lin (DCP)" userId="5ba63a2c-b5bc-4f17-a87a-a3a824a8af35" providerId="ADAL" clId="{15ACCAF1-809F-CF4E-AF90-44371B6094D7}" dt="2020-08-04T19:26:01.483" v="1745" actId="20577"/>
      <pc:docMkLst>
        <pc:docMk/>
      </pc:docMkLst>
      <pc:sldChg chg="addSp delSp modSp mod">
        <pc:chgData name="Ruoran Lin (DCP)" userId="5ba63a2c-b5bc-4f17-a87a-a3a824a8af35" providerId="ADAL" clId="{15ACCAF1-809F-CF4E-AF90-44371B6094D7}" dt="2020-08-04T03:53:36.689" v="963" actId="20577"/>
        <pc:sldMkLst>
          <pc:docMk/>
          <pc:sldMk cId="1155418492" sldId="1026"/>
        </pc:sldMkLst>
        <pc:spChg chg="mod">
          <ac:chgData name="Ruoran Lin (DCP)" userId="5ba63a2c-b5bc-4f17-a87a-a3a824a8af35" providerId="ADAL" clId="{15ACCAF1-809F-CF4E-AF90-44371B6094D7}" dt="2020-08-04T03:53:36.689" v="963" actId="20577"/>
          <ac:spMkLst>
            <pc:docMk/>
            <pc:sldMk cId="1155418492" sldId="1026"/>
            <ac:spMk id="6" creationId="{6112D5FE-E18B-6A43-BA78-7662CB7AF3D1}"/>
          </ac:spMkLst>
        </pc:spChg>
        <pc:spChg chg="mod">
          <ac:chgData name="Ruoran Lin (DCP)" userId="5ba63a2c-b5bc-4f17-a87a-a3a824a8af35" providerId="ADAL" clId="{15ACCAF1-809F-CF4E-AF90-44371B6094D7}" dt="2020-08-03T22:49:05.658" v="676" actId="1076"/>
          <ac:spMkLst>
            <pc:docMk/>
            <pc:sldMk cId="1155418492" sldId="1026"/>
            <ac:spMk id="7" creationId="{5DD5AC5F-360F-8042-AE73-AF91185B9B19}"/>
          </ac:spMkLst>
        </pc:spChg>
        <pc:graphicFrameChg chg="del">
          <ac:chgData name="Ruoran Lin (DCP)" userId="5ba63a2c-b5bc-4f17-a87a-a3a824a8af35" providerId="ADAL" clId="{15ACCAF1-809F-CF4E-AF90-44371B6094D7}" dt="2020-07-27T22:53:40.703" v="0" actId="478"/>
          <ac:graphicFrameMkLst>
            <pc:docMk/>
            <pc:sldMk cId="1155418492" sldId="1026"/>
            <ac:graphicFrameMk id="9" creationId="{68EDFA0D-7AE0-AF44-9360-4F25F694E1CE}"/>
          </ac:graphicFrameMkLst>
        </pc:graphicFrameChg>
        <pc:graphicFrameChg chg="del">
          <ac:chgData name="Ruoran Lin (DCP)" userId="5ba63a2c-b5bc-4f17-a87a-a3a824a8af35" providerId="ADAL" clId="{15ACCAF1-809F-CF4E-AF90-44371B6094D7}" dt="2020-07-27T22:54:34.247" v="21" actId="478"/>
          <ac:graphicFrameMkLst>
            <pc:docMk/>
            <pc:sldMk cId="1155418492" sldId="1026"/>
            <ac:graphicFrameMk id="11" creationId="{519EE0ED-7A72-3348-8735-5519A41EDCB8}"/>
          </ac:graphicFrameMkLst>
        </pc:graphicFrameChg>
        <pc:graphicFrameChg chg="add mod">
          <ac:chgData name="Ruoran Lin (DCP)" userId="5ba63a2c-b5bc-4f17-a87a-a3a824a8af35" providerId="ADAL" clId="{15ACCAF1-809F-CF4E-AF90-44371B6094D7}" dt="2020-08-03T22:48:57.455" v="675" actId="167"/>
          <ac:graphicFrameMkLst>
            <pc:docMk/>
            <pc:sldMk cId="1155418492" sldId="1026"/>
            <ac:graphicFrameMk id="11" creationId="{68EDFA0D-7AE0-AF44-9360-4F25F694E1CE}"/>
          </ac:graphicFrameMkLst>
        </pc:graphicFrameChg>
        <pc:graphicFrameChg chg="add mod">
          <ac:chgData name="Ruoran Lin (DCP)" userId="5ba63a2c-b5bc-4f17-a87a-a3a824a8af35" providerId="ADAL" clId="{15ACCAF1-809F-CF4E-AF90-44371B6094D7}" dt="2020-08-03T22:49:41.264" v="686" actId="404"/>
          <ac:graphicFrameMkLst>
            <pc:docMk/>
            <pc:sldMk cId="1155418492" sldId="1026"/>
            <ac:graphicFrameMk id="12" creationId="{519EE0ED-7A72-3348-8735-5519A41EDCB8}"/>
          </ac:graphicFrameMkLst>
        </pc:graphicFrameChg>
        <pc:graphicFrameChg chg="add del mod">
          <ac:chgData name="Ruoran Lin (DCP)" userId="5ba63a2c-b5bc-4f17-a87a-a3a824a8af35" providerId="ADAL" clId="{15ACCAF1-809F-CF4E-AF90-44371B6094D7}" dt="2020-08-03T22:47:59.410" v="661" actId="478"/>
          <ac:graphicFrameMkLst>
            <pc:docMk/>
            <pc:sldMk cId="1155418492" sldId="1026"/>
            <ac:graphicFrameMk id="13" creationId="{68EDFA0D-7AE0-AF44-9360-4F25F694E1CE}"/>
          </ac:graphicFrameMkLst>
        </pc:graphicFrameChg>
        <pc:graphicFrameChg chg="add">
          <ac:chgData name="Ruoran Lin (DCP)" userId="5ba63a2c-b5bc-4f17-a87a-a3a824a8af35" providerId="ADAL" clId="{15ACCAF1-809F-CF4E-AF90-44371B6094D7}" dt="2020-07-27T22:53:44.568" v="6"/>
          <ac:graphicFrameMkLst>
            <pc:docMk/>
            <pc:sldMk cId="1155418492" sldId="1026"/>
            <ac:graphicFrameMk id="14" creationId="{68EDFA0D-7AE0-AF44-9360-4F25F694E1CE}"/>
          </ac:graphicFrameMkLst>
        </pc:graphicFrameChg>
        <pc:graphicFrameChg chg="add del mod">
          <ac:chgData name="Ruoran Lin (DCP)" userId="5ba63a2c-b5bc-4f17-a87a-a3a824a8af35" providerId="ADAL" clId="{15ACCAF1-809F-CF4E-AF90-44371B6094D7}" dt="2020-08-03T22:49:08.541" v="677" actId="478"/>
          <ac:graphicFrameMkLst>
            <pc:docMk/>
            <pc:sldMk cId="1155418492" sldId="1026"/>
            <ac:graphicFrameMk id="15" creationId="{519EE0ED-7A72-3348-8735-5519A41EDCB8}"/>
          </ac:graphicFrameMkLst>
        </pc:graphicFrameChg>
      </pc:sldChg>
      <pc:sldChg chg="addSp delSp modSp mod">
        <pc:chgData name="Ruoran Lin (DCP)" userId="5ba63a2c-b5bc-4f17-a87a-a3a824a8af35" providerId="ADAL" clId="{15ACCAF1-809F-CF4E-AF90-44371B6094D7}" dt="2020-08-04T03:54:16.191" v="1026" actId="20577"/>
        <pc:sldMkLst>
          <pc:docMk/>
          <pc:sldMk cId="1049441131" sldId="1040"/>
        </pc:sldMkLst>
        <pc:spChg chg="mod">
          <ac:chgData name="Ruoran Lin (DCP)" userId="5ba63a2c-b5bc-4f17-a87a-a3a824a8af35" providerId="ADAL" clId="{15ACCAF1-809F-CF4E-AF90-44371B6094D7}" dt="2020-08-04T03:54:16.191" v="1026" actId="20577"/>
          <ac:spMkLst>
            <pc:docMk/>
            <pc:sldMk cId="1049441131" sldId="1040"/>
            <ac:spMk id="8" creationId="{B4306CB6-AC48-1546-B565-FD067D80C14C}"/>
          </ac:spMkLst>
        </pc:spChg>
        <pc:spChg chg="mod">
          <ac:chgData name="Ruoran Lin (DCP)" userId="5ba63a2c-b5bc-4f17-a87a-a3a824a8af35" providerId="ADAL" clId="{15ACCAF1-809F-CF4E-AF90-44371B6094D7}" dt="2020-08-03T22:51:07.701" v="704" actId="1076"/>
          <ac:spMkLst>
            <pc:docMk/>
            <pc:sldMk cId="1049441131" sldId="1040"/>
            <ac:spMk id="14" creationId="{437F0068-2F47-8346-A239-A480DB4C0B54}"/>
          </ac:spMkLst>
        </pc:spChg>
        <pc:graphicFrameChg chg="del">
          <ac:chgData name="Ruoran Lin (DCP)" userId="5ba63a2c-b5bc-4f17-a87a-a3a824a8af35" providerId="ADAL" clId="{15ACCAF1-809F-CF4E-AF90-44371B6094D7}" dt="2020-07-27T22:56:53.056" v="58" actId="478"/>
          <ac:graphicFrameMkLst>
            <pc:docMk/>
            <pc:sldMk cId="1049441131" sldId="1040"/>
            <ac:graphicFrameMk id="9" creationId="{CFFA1B36-5CB1-D24F-9F81-D8B570EAAA25}"/>
          </ac:graphicFrameMkLst>
        </pc:graphicFrameChg>
        <pc:graphicFrameChg chg="del">
          <ac:chgData name="Ruoran Lin (DCP)" userId="5ba63a2c-b5bc-4f17-a87a-a3a824a8af35" providerId="ADAL" clId="{15ACCAF1-809F-CF4E-AF90-44371B6094D7}" dt="2020-07-27T22:58:07.441" v="75" actId="478"/>
          <ac:graphicFrameMkLst>
            <pc:docMk/>
            <pc:sldMk cId="1049441131" sldId="1040"/>
            <ac:graphicFrameMk id="10" creationId="{C74309F3-BD2E-054F-AD89-8707F08964FA}"/>
          </ac:graphicFrameMkLst>
        </pc:graphicFrameChg>
        <pc:graphicFrameChg chg="add mod">
          <ac:chgData name="Ruoran Lin (DCP)" userId="5ba63a2c-b5bc-4f17-a87a-a3a824a8af35" providerId="ADAL" clId="{15ACCAF1-809F-CF4E-AF90-44371B6094D7}" dt="2020-08-03T22:51:43.019" v="728" actId="1037"/>
          <ac:graphicFrameMkLst>
            <pc:docMk/>
            <pc:sldMk cId="1049441131" sldId="1040"/>
            <ac:graphicFrameMk id="10" creationId="{CFFA1B36-5CB1-D24F-9F81-D8B570EAAA25}"/>
          </ac:graphicFrameMkLst>
        </pc:graphicFrameChg>
        <pc:graphicFrameChg chg="add mod">
          <ac:chgData name="Ruoran Lin (DCP)" userId="5ba63a2c-b5bc-4f17-a87a-a3a824a8af35" providerId="ADAL" clId="{15ACCAF1-809F-CF4E-AF90-44371B6094D7}" dt="2020-08-03T22:51:46.057" v="729" actId="404"/>
          <ac:graphicFrameMkLst>
            <pc:docMk/>
            <pc:sldMk cId="1049441131" sldId="1040"/>
            <ac:graphicFrameMk id="11" creationId="{C74309F3-BD2E-054F-AD89-8707F08964FA}"/>
          </ac:graphicFrameMkLst>
        </pc:graphicFrameChg>
        <pc:graphicFrameChg chg="add del mod">
          <ac:chgData name="Ruoran Lin (DCP)" userId="5ba63a2c-b5bc-4f17-a87a-a3a824a8af35" providerId="ADAL" clId="{15ACCAF1-809F-CF4E-AF90-44371B6094D7}" dt="2020-08-03T22:50:08.040" v="689" actId="478"/>
          <ac:graphicFrameMkLst>
            <pc:docMk/>
            <pc:sldMk cId="1049441131" sldId="1040"/>
            <ac:graphicFrameMk id="12" creationId="{CFFA1B36-5CB1-D24F-9F81-D8B570EAAA25}"/>
          </ac:graphicFrameMkLst>
        </pc:graphicFrameChg>
        <pc:graphicFrameChg chg="add del mod">
          <ac:chgData name="Ruoran Lin (DCP)" userId="5ba63a2c-b5bc-4f17-a87a-a3a824a8af35" providerId="ADAL" clId="{15ACCAF1-809F-CF4E-AF90-44371B6094D7}" dt="2020-08-03T22:51:09.495" v="705" actId="478"/>
          <ac:graphicFrameMkLst>
            <pc:docMk/>
            <pc:sldMk cId="1049441131" sldId="1040"/>
            <ac:graphicFrameMk id="13" creationId="{C74309F3-BD2E-054F-AD89-8707F08964FA}"/>
          </ac:graphicFrameMkLst>
        </pc:graphicFrameChg>
      </pc:sldChg>
      <pc:sldChg chg="addSp delSp modSp mod">
        <pc:chgData name="Ruoran Lin (DCP)" userId="5ba63a2c-b5bc-4f17-a87a-a3a824a8af35" providerId="ADAL" clId="{15ACCAF1-809F-CF4E-AF90-44371B6094D7}" dt="2020-08-04T03:57:16.042" v="1146" actId="20577"/>
        <pc:sldMkLst>
          <pc:docMk/>
          <pc:sldMk cId="2855638099" sldId="1089"/>
        </pc:sldMkLst>
        <pc:spChg chg="mod">
          <ac:chgData name="Ruoran Lin (DCP)" userId="5ba63a2c-b5bc-4f17-a87a-a3a824a8af35" providerId="ADAL" clId="{15ACCAF1-809F-CF4E-AF90-44371B6094D7}" dt="2020-08-04T03:57:16.042" v="1146" actId="20577"/>
          <ac:spMkLst>
            <pc:docMk/>
            <pc:sldMk cId="2855638099" sldId="1089"/>
            <ac:spMk id="8" creationId="{B4306CB6-AC48-1546-B565-FD067D80C14C}"/>
          </ac:spMkLst>
        </pc:spChg>
        <pc:spChg chg="mod">
          <ac:chgData name="Ruoran Lin (DCP)" userId="5ba63a2c-b5bc-4f17-a87a-a3a824a8af35" providerId="ADAL" clId="{15ACCAF1-809F-CF4E-AF90-44371B6094D7}" dt="2020-08-03T22:58:02.791" v="881" actId="14100"/>
          <ac:spMkLst>
            <pc:docMk/>
            <pc:sldMk cId="2855638099" sldId="1089"/>
            <ac:spMk id="14" creationId="{437F0068-2F47-8346-A239-A480DB4C0B54}"/>
          </ac:spMkLst>
        </pc:spChg>
        <pc:graphicFrameChg chg="del">
          <ac:chgData name="Ruoran Lin (DCP)" userId="5ba63a2c-b5bc-4f17-a87a-a3a824a8af35" providerId="ADAL" clId="{15ACCAF1-809F-CF4E-AF90-44371B6094D7}" dt="2020-07-27T23:22:00.408" v="355" actId="478"/>
          <ac:graphicFrameMkLst>
            <pc:docMk/>
            <pc:sldMk cId="2855638099" sldId="1089"/>
            <ac:graphicFrameMk id="11" creationId="{FDFB51FB-6C34-BA4D-966D-38B3F4DE955A}"/>
          </ac:graphicFrameMkLst>
        </pc:graphicFrameChg>
        <pc:graphicFrameChg chg="add mod">
          <ac:chgData name="Ruoran Lin (DCP)" userId="5ba63a2c-b5bc-4f17-a87a-a3a824a8af35" providerId="ADAL" clId="{15ACCAF1-809F-CF4E-AF90-44371B6094D7}" dt="2020-08-03T22:57:26.264" v="870" actId="167"/>
          <ac:graphicFrameMkLst>
            <pc:docMk/>
            <pc:sldMk cId="2855638099" sldId="1089"/>
            <ac:graphicFrameMk id="12" creationId="{FDFB51FB-6C34-BA4D-966D-38B3F4DE955A}"/>
          </ac:graphicFrameMkLst>
        </pc:graphicFrameChg>
        <pc:graphicFrameChg chg="add del mod">
          <ac:chgData name="Ruoran Lin (DCP)" userId="5ba63a2c-b5bc-4f17-a87a-a3a824a8af35" providerId="ADAL" clId="{15ACCAF1-809F-CF4E-AF90-44371B6094D7}" dt="2020-08-03T22:59:44.431" v="891" actId="404"/>
          <ac:graphicFrameMkLst>
            <pc:docMk/>
            <pc:sldMk cId="2855638099" sldId="1089"/>
            <ac:graphicFrameMk id="13" creationId="{3493FB8C-B80D-B544-A011-D64761D96A7B}"/>
          </ac:graphicFrameMkLst>
        </pc:graphicFrameChg>
        <pc:graphicFrameChg chg="add del mod">
          <ac:chgData name="Ruoran Lin (DCP)" userId="5ba63a2c-b5bc-4f17-a87a-a3a824a8af35" providerId="ADAL" clId="{15ACCAF1-809F-CF4E-AF90-44371B6094D7}" dt="2020-08-03T22:56:39.724" v="856" actId="478"/>
          <ac:graphicFrameMkLst>
            <pc:docMk/>
            <pc:sldMk cId="2855638099" sldId="1089"/>
            <ac:graphicFrameMk id="15" creationId="{FDFB51FB-6C34-BA4D-966D-38B3F4DE955A}"/>
          </ac:graphicFrameMkLst>
        </pc:graphicFrameChg>
        <pc:graphicFrameChg chg="add del mod">
          <ac:chgData name="Ruoran Lin (DCP)" userId="5ba63a2c-b5bc-4f17-a87a-a3a824a8af35" providerId="ADAL" clId="{15ACCAF1-809F-CF4E-AF90-44371B6094D7}" dt="2020-08-03T22:58:11.799" v="883" actId="478"/>
          <ac:graphicFrameMkLst>
            <pc:docMk/>
            <pc:sldMk cId="2855638099" sldId="1089"/>
            <ac:graphicFrameMk id="16" creationId="{3493FB8C-B80D-B544-A011-D64761D96A7B}"/>
          </ac:graphicFrameMkLst>
        </pc:graphicFrameChg>
      </pc:sldChg>
      <pc:sldChg chg="addSp delSp modSp mod">
        <pc:chgData name="Ruoran Lin (DCP)" userId="5ba63a2c-b5bc-4f17-a87a-a3a824a8af35" providerId="ADAL" clId="{15ACCAF1-809F-CF4E-AF90-44371B6094D7}" dt="2020-08-04T19:26:01.483" v="1745" actId="20577"/>
        <pc:sldMkLst>
          <pc:docMk/>
          <pc:sldMk cId="2535481493" sldId="1116"/>
        </pc:sldMkLst>
        <pc:spChg chg="mod">
          <ac:chgData name="Ruoran Lin (DCP)" userId="5ba63a2c-b5bc-4f17-a87a-a3a824a8af35" providerId="ADAL" clId="{15ACCAF1-809F-CF4E-AF90-44371B6094D7}" dt="2020-08-04T19:26:01.483" v="1745" actId="20577"/>
          <ac:spMkLst>
            <pc:docMk/>
            <pc:sldMk cId="2535481493" sldId="1116"/>
            <ac:spMk id="3" creationId="{ADCA80B7-FA51-4361-BD12-C9B3EE2588FA}"/>
          </ac:spMkLst>
        </pc:spChg>
        <pc:spChg chg="mod">
          <ac:chgData name="Ruoran Lin (DCP)" userId="5ba63a2c-b5bc-4f17-a87a-a3a824a8af35" providerId="ADAL" clId="{15ACCAF1-809F-CF4E-AF90-44371B6094D7}" dt="2020-08-04T03:54:57.729" v="1036" actId="20577"/>
          <ac:spMkLst>
            <pc:docMk/>
            <pc:sldMk cId="2535481493" sldId="1116"/>
            <ac:spMk id="8" creationId="{B4306CB6-AC48-1546-B565-FD067D80C14C}"/>
          </ac:spMkLst>
        </pc:spChg>
        <pc:graphicFrameChg chg="add del mod">
          <ac:chgData name="Ruoran Lin (DCP)" userId="5ba63a2c-b5bc-4f17-a87a-a3a824a8af35" providerId="ADAL" clId="{15ACCAF1-809F-CF4E-AF90-44371B6094D7}" dt="2020-08-03T23:07:50.449" v="892" actId="478"/>
          <ac:graphicFrameMkLst>
            <pc:docMk/>
            <pc:sldMk cId="2535481493" sldId="1116"/>
            <ac:graphicFrameMk id="6" creationId="{7CA9D784-8A66-BF44-A6EA-3D4DAC7EF62A}"/>
          </ac:graphicFrameMkLst>
        </pc:graphicFrameChg>
        <pc:graphicFrameChg chg="del">
          <ac:chgData name="Ruoran Lin (DCP)" userId="5ba63a2c-b5bc-4f17-a87a-a3a824a8af35" providerId="ADAL" clId="{15ACCAF1-809F-CF4E-AF90-44371B6094D7}" dt="2020-07-28T00:28:10.834" v="424" actId="478"/>
          <ac:graphicFrameMkLst>
            <pc:docMk/>
            <pc:sldMk cId="2535481493" sldId="1116"/>
            <ac:graphicFrameMk id="7" creationId="{7CA9D784-8A66-BF44-A6EA-3D4DAC7EF62A}"/>
          </ac:graphicFrameMkLst>
        </pc:graphicFrameChg>
        <pc:graphicFrameChg chg="add mod">
          <ac:chgData name="Ruoran Lin (DCP)" userId="5ba63a2c-b5bc-4f17-a87a-a3a824a8af35" providerId="ADAL" clId="{15ACCAF1-809F-CF4E-AF90-44371B6094D7}" dt="2020-08-03T23:08:28.124" v="908" actId="167"/>
          <ac:graphicFrameMkLst>
            <pc:docMk/>
            <pc:sldMk cId="2535481493" sldId="1116"/>
            <ac:graphicFrameMk id="9" creationId="{7CA9D784-8A66-BF44-A6EA-3D4DAC7EF62A}"/>
          </ac:graphicFrameMkLst>
        </pc:graphicFrameChg>
        <pc:graphicFrameChg chg="add mod">
          <ac:chgData name="Ruoran Lin (DCP)" userId="5ba63a2c-b5bc-4f17-a87a-a3a824a8af35" providerId="ADAL" clId="{15ACCAF1-809F-CF4E-AF90-44371B6094D7}" dt="2020-07-28T00:32:25.021" v="449"/>
          <ac:graphicFrameMkLst>
            <pc:docMk/>
            <pc:sldMk cId="2535481493" sldId="1116"/>
            <ac:graphicFrameMk id="10" creationId="{7CA9D784-8A66-BF44-A6EA-3D4DAC7EF62A}"/>
          </ac:graphicFrameMkLst>
        </pc:graphicFrameChg>
      </pc:sldChg>
      <pc:sldChg chg="addSp delSp modSp mod">
        <pc:chgData name="Ruoran Lin (DCP)" userId="5ba63a2c-b5bc-4f17-a87a-a3a824a8af35" providerId="ADAL" clId="{15ACCAF1-809F-CF4E-AF90-44371B6094D7}" dt="2020-08-04T03:55:28.169" v="1061" actId="20577"/>
        <pc:sldMkLst>
          <pc:docMk/>
          <pc:sldMk cId="423080654" sldId="1117"/>
        </pc:sldMkLst>
        <pc:spChg chg="mod">
          <ac:chgData name="Ruoran Lin (DCP)" userId="5ba63a2c-b5bc-4f17-a87a-a3a824a8af35" providerId="ADAL" clId="{15ACCAF1-809F-CF4E-AF90-44371B6094D7}" dt="2020-08-04T03:55:28.169" v="1061" actId="20577"/>
          <ac:spMkLst>
            <pc:docMk/>
            <pc:sldMk cId="423080654" sldId="1117"/>
            <ac:spMk id="8" creationId="{B4306CB6-AC48-1546-B565-FD067D80C14C}"/>
          </ac:spMkLst>
        </pc:spChg>
        <pc:spChg chg="mod">
          <ac:chgData name="Ruoran Lin (DCP)" userId="5ba63a2c-b5bc-4f17-a87a-a3a824a8af35" providerId="ADAL" clId="{15ACCAF1-809F-CF4E-AF90-44371B6094D7}" dt="2020-08-03T22:54:54.199" v="828" actId="14100"/>
          <ac:spMkLst>
            <pc:docMk/>
            <pc:sldMk cId="423080654" sldId="1117"/>
            <ac:spMk id="14" creationId="{437F0068-2F47-8346-A239-A480DB4C0B54}"/>
          </ac:spMkLst>
        </pc:spChg>
        <pc:graphicFrameChg chg="del">
          <ac:chgData name="Ruoran Lin (DCP)" userId="5ba63a2c-b5bc-4f17-a87a-a3a824a8af35" providerId="ADAL" clId="{15ACCAF1-809F-CF4E-AF90-44371B6094D7}" dt="2020-07-27T23:01:31.910" v="138" actId="478"/>
          <ac:graphicFrameMkLst>
            <pc:docMk/>
            <pc:sldMk cId="423080654" sldId="1117"/>
            <ac:graphicFrameMk id="9" creationId="{CF9C6408-D442-3F4B-BC9E-BBA8FF4D2B0C}"/>
          </ac:graphicFrameMkLst>
        </pc:graphicFrameChg>
        <pc:graphicFrameChg chg="del">
          <ac:chgData name="Ruoran Lin (DCP)" userId="5ba63a2c-b5bc-4f17-a87a-a3a824a8af35" providerId="ADAL" clId="{15ACCAF1-809F-CF4E-AF90-44371B6094D7}" dt="2020-07-27T23:06:07.707" v="204" actId="478"/>
          <ac:graphicFrameMkLst>
            <pc:docMk/>
            <pc:sldMk cId="423080654" sldId="1117"/>
            <ac:graphicFrameMk id="10" creationId="{CBDF49BE-05E1-D947-9E53-6A95B9817C41}"/>
          </ac:graphicFrameMkLst>
        </pc:graphicFrameChg>
        <pc:graphicFrameChg chg="add mod">
          <ac:chgData name="Ruoran Lin (DCP)" userId="5ba63a2c-b5bc-4f17-a87a-a3a824a8af35" providerId="ADAL" clId="{15ACCAF1-809F-CF4E-AF90-44371B6094D7}" dt="2020-08-03T22:53:18.374" v="795" actId="404"/>
          <ac:graphicFrameMkLst>
            <pc:docMk/>
            <pc:sldMk cId="423080654" sldId="1117"/>
            <ac:graphicFrameMk id="10" creationId="{CF9C6408-D442-3F4B-BC9E-BBA8FF4D2B0C}"/>
          </ac:graphicFrameMkLst>
        </pc:graphicFrameChg>
        <pc:graphicFrameChg chg="add mod">
          <ac:chgData name="Ruoran Lin (DCP)" userId="5ba63a2c-b5bc-4f17-a87a-a3a824a8af35" providerId="ADAL" clId="{15ACCAF1-809F-CF4E-AF90-44371B6094D7}" dt="2020-08-03T22:53:32.065" v="797" actId="14100"/>
          <ac:graphicFrameMkLst>
            <pc:docMk/>
            <pc:sldMk cId="423080654" sldId="1117"/>
            <ac:graphicFrameMk id="11" creationId="{CBDF49BE-05E1-D947-9E53-6A95B9817C41}"/>
          </ac:graphicFrameMkLst>
        </pc:graphicFrameChg>
        <pc:graphicFrameChg chg="add mod">
          <ac:chgData name="Ruoran Lin (DCP)" userId="5ba63a2c-b5bc-4f17-a87a-a3a824a8af35" providerId="ADAL" clId="{15ACCAF1-809F-CF4E-AF90-44371B6094D7}" dt="2020-07-27T23:02:12.823" v="147" actId="14100"/>
          <ac:graphicFrameMkLst>
            <pc:docMk/>
            <pc:sldMk cId="423080654" sldId="1117"/>
            <ac:graphicFrameMk id="12" creationId="{09E4867E-86BF-F842-86A3-FA8343B6AC69}"/>
          </ac:graphicFrameMkLst>
        </pc:graphicFrameChg>
        <pc:graphicFrameChg chg="add del mod">
          <ac:chgData name="Ruoran Lin (DCP)" userId="5ba63a2c-b5bc-4f17-a87a-a3a824a8af35" providerId="ADAL" clId="{15ACCAF1-809F-CF4E-AF90-44371B6094D7}" dt="2020-08-03T22:51:55.265" v="730" actId="478"/>
          <ac:graphicFrameMkLst>
            <pc:docMk/>
            <pc:sldMk cId="423080654" sldId="1117"/>
            <ac:graphicFrameMk id="13" creationId="{F257EF17-6266-794F-B69D-7E12BB582904}"/>
          </ac:graphicFrameMkLst>
        </pc:graphicFrameChg>
        <pc:graphicFrameChg chg="add del mod">
          <ac:chgData name="Ruoran Lin (DCP)" userId="5ba63a2c-b5bc-4f17-a87a-a3a824a8af35" providerId="ADAL" clId="{15ACCAF1-809F-CF4E-AF90-44371B6094D7}" dt="2020-08-03T22:51:57.895" v="731" actId="478"/>
          <ac:graphicFrameMkLst>
            <pc:docMk/>
            <pc:sldMk cId="423080654" sldId="1117"/>
            <ac:graphicFrameMk id="15" creationId="{CBDF49BE-05E1-D947-9E53-6A95B9817C41}"/>
          </ac:graphicFrameMkLst>
        </pc:graphicFrameChg>
      </pc:sldChg>
      <pc:sldChg chg="addSp delSp modSp mod">
        <pc:chgData name="Ruoran Lin (DCP)" userId="5ba63a2c-b5bc-4f17-a87a-a3a824a8af35" providerId="ADAL" clId="{15ACCAF1-809F-CF4E-AF90-44371B6094D7}" dt="2020-08-04T03:56:43.192" v="1118" actId="20577"/>
        <pc:sldMkLst>
          <pc:docMk/>
          <pc:sldMk cId="1462918329" sldId="1118"/>
        </pc:sldMkLst>
        <pc:spChg chg="mod">
          <ac:chgData name="Ruoran Lin (DCP)" userId="5ba63a2c-b5bc-4f17-a87a-a3a824a8af35" providerId="ADAL" clId="{15ACCAF1-809F-CF4E-AF90-44371B6094D7}" dt="2020-08-04T03:56:43.192" v="1118" actId="20577"/>
          <ac:spMkLst>
            <pc:docMk/>
            <pc:sldMk cId="1462918329" sldId="1118"/>
            <ac:spMk id="6" creationId="{6112D5FE-E18B-6A43-BA78-7662CB7AF3D1}"/>
          </ac:spMkLst>
        </pc:spChg>
        <pc:spChg chg="mod">
          <ac:chgData name="Ruoran Lin (DCP)" userId="5ba63a2c-b5bc-4f17-a87a-a3a824a8af35" providerId="ADAL" clId="{15ACCAF1-809F-CF4E-AF90-44371B6094D7}" dt="2020-08-03T22:56:03.488" v="849" actId="1037"/>
          <ac:spMkLst>
            <pc:docMk/>
            <pc:sldMk cId="1462918329" sldId="1118"/>
            <ac:spMk id="7" creationId="{5DD5AC5F-360F-8042-AE73-AF91185B9B19}"/>
          </ac:spMkLst>
        </pc:spChg>
        <pc:graphicFrameChg chg="del">
          <ac:chgData name="Ruoran Lin (DCP)" userId="5ba63a2c-b5bc-4f17-a87a-a3a824a8af35" providerId="ADAL" clId="{15ACCAF1-809F-CF4E-AF90-44371B6094D7}" dt="2020-07-27T23:10:23.634" v="304" actId="478"/>
          <ac:graphicFrameMkLst>
            <pc:docMk/>
            <pc:sldMk cId="1462918329" sldId="1118"/>
            <ac:graphicFrameMk id="9" creationId="{09E4867E-86BF-F842-86A3-FA8343B6AC69}"/>
          </ac:graphicFrameMkLst>
        </pc:graphicFrameChg>
        <pc:graphicFrameChg chg="add mod">
          <ac:chgData name="Ruoran Lin (DCP)" userId="5ba63a2c-b5bc-4f17-a87a-a3a824a8af35" providerId="ADAL" clId="{15ACCAF1-809F-CF4E-AF90-44371B6094D7}" dt="2020-08-03T22:55:55.568" v="840" actId="167"/>
          <ac:graphicFrameMkLst>
            <pc:docMk/>
            <pc:sldMk cId="1462918329" sldId="1118"/>
            <ac:graphicFrameMk id="11" creationId="{09E4867E-86BF-F842-86A3-FA8343B6AC69}"/>
          </ac:graphicFrameMkLst>
        </pc:graphicFrameChg>
        <pc:graphicFrameChg chg="del">
          <ac:chgData name="Ruoran Lin (DCP)" userId="5ba63a2c-b5bc-4f17-a87a-a3a824a8af35" providerId="ADAL" clId="{15ACCAF1-809F-CF4E-AF90-44371B6094D7}" dt="2020-07-27T23:20:21.504" v="315" actId="478"/>
          <ac:graphicFrameMkLst>
            <pc:docMk/>
            <pc:sldMk cId="1462918329" sldId="1118"/>
            <ac:graphicFrameMk id="11" creationId="{9BDD3167-C185-E640-8474-A9E5E82FE47E}"/>
          </ac:graphicFrameMkLst>
        </pc:graphicFrameChg>
        <pc:graphicFrameChg chg="add mod">
          <ac:chgData name="Ruoran Lin (DCP)" userId="5ba63a2c-b5bc-4f17-a87a-a3a824a8af35" providerId="ADAL" clId="{15ACCAF1-809F-CF4E-AF90-44371B6094D7}" dt="2020-08-03T22:56:21.512" v="855" actId="14100"/>
          <ac:graphicFrameMkLst>
            <pc:docMk/>
            <pc:sldMk cId="1462918329" sldId="1118"/>
            <ac:graphicFrameMk id="12" creationId="{9BDD3167-C185-E640-8474-A9E5E82FE47E}"/>
          </ac:graphicFrameMkLst>
        </pc:graphicFrameChg>
        <pc:graphicFrameChg chg="add del mod">
          <ac:chgData name="Ruoran Lin (DCP)" userId="5ba63a2c-b5bc-4f17-a87a-a3a824a8af35" providerId="ADAL" clId="{15ACCAF1-809F-CF4E-AF90-44371B6094D7}" dt="2020-08-03T22:55:19.819" v="831" actId="478"/>
          <ac:graphicFrameMkLst>
            <pc:docMk/>
            <pc:sldMk cId="1462918329" sldId="1118"/>
            <ac:graphicFrameMk id="13" creationId="{09E4867E-86BF-F842-86A3-FA8343B6AC69}"/>
          </ac:graphicFrameMkLst>
        </pc:graphicFrameChg>
        <pc:graphicFrameChg chg="add del mod">
          <ac:chgData name="Ruoran Lin (DCP)" userId="5ba63a2c-b5bc-4f17-a87a-a3a824a8af35" providerId="ADAL" clId="{15ACCAF1-809F-CF4E-AF90-44371B6094D7}" dt="2020-08-03T22:56:06.917" v="850" actId="478"/>
          <ac:graphicFrameMkLst>
            <pc:docMk/>
            <pc:sldMk cId="1462918329" sldId="1118"/>
            <ac:graphicFrameMk id="14" creationId="{9BDD3167-C185-E640-8474-A9E5E82FE47E}"/>
          </ac:graphicFrameMkLst>
        </pc:graphicFrameChg>
      </pc:sldChg>
      <pc:sldChg chg="addSp delSp modSp mod">
        <pc:chgData name="Ruoran Lin (DCP)" userId="5ba63a2c-b5bc-4f17-a87a-a3a824a8af35" providerId="ADAL" clId="{15ACCAF1-809F-CF4E-AF90-44371B6094D7}" dt="2020-08-04T03:56:00.614" v="1088" actId="20577"/>
        <pc:sldMkLst>
          <pc:docMk/>
          <pc:sldMk cId="2318289709" sldId="1119"/>
        </pc:sldMkLst>
        <pc:spChg chg="mod">
          <ac:chgData name="Ruoran Lin (DCP)" userId="5ba63a2c-b5bc-4f17-a87a-a3a824a8af35" providerId="ADAL" clId="{15ACCAF1-809F-CF4E-AF90-44371B6094D7}" dt="2020-08-04T03:56:00.614" v="1088" actId="20577"/>
          <ac:spMkLst>
            <pc:docMk/>
            <pc:sldMk cId="2318289709" sldId="1119"/>
            <ac:spMk id="6" creationId="{6112D5FE-E18B-6A43-BA78-7662CB7AF3D1}"/>
          </ac:spMkLst>
        </pc:spChg>
        <pc:spChg chg="mod">
          <ac:chgData name="Ruoran Lin (DCP)" userId="5ba63a2c-b5bc-4f17-a87a-a3a824a8af35" providerId="ADAL" clId="{15ACCAF1-809F-CF4E-AF90-44371B6094D7}" dt="2020-08-03T22:55:10.540" v="830" actId="14100"/>
          <ac:spMkLst>
            <pc:docMk/>
            <pc:sldMk cId="2318289709" sldId="1119"/>
            <ac:spMk id="7" creationId="{5DD5AC5F-360F-8042-AE73-AF91185B9B19}"/>
          </ac:spMkLst>
        </pc:spChg>
        <pc:graphicFrameChg chg="del">
          <ac:chgData name="Ruoran Lin (DCP)" userId="5ba63a2c-b5bc-4f17-a87a-a3a824a8af35" providerId="ADAL" clId="{15ACCAF1-809F-CF4E-AF90-44371B6094D7}" dt="2020-07-27T23:02:48.058" v="148" actId="478"/>
          <ac:graphicFrameMkLst>
            <pc:docMk/>
            <pc:sldMk cId="2318289709" sldId="1119"/>
            <ac:graphicFrameMk id="9" creationId="{314DAC1C-7548-AD43-847D-4D92A07546B4}"/>
          </ac:graphicFrameMkLst>
        </pc:graphicFrameChg>
        <pc:graphicFrameChg chg="del">
          <ac:chgData name="Ruoran Lin (DCP)" userId="5ba63a2c-b5bc-4f17-a87a-a3a824a8af35" providerId="ADAL" clId="{15ACCAF1-809F-CF4E-AF90-44371B6094D7}" dt="2020-07-27T23:08:50.025" v="247" actId="478"/>
          <ac:graphicFrameMkLst>
            <pc:docMk/>
            <pc:sldMk cId="2318289709" sldId="1119"/>
            <ac:graphicFrameMk id="11" creationId="{013EBD7A-8F34-E341-9996-60CA6B2E0C8E}"/>
          </ac:graphicFrameMkLst>
        </pc:graphicFrameChg>
        <pc:graphicFrameChg chg="add mod">
          <ac:chgData name="Ruoran Lin (DCP)" userId="5ba63a2c-b5bc-4f17-a87a-a3a824a8af35" providerId="ADAL" clId="{15ACCAF1-809F-CF4E-AF90-44371B6094D7}" dt="2020-08-03T22:54:59.347" v="829" actId="404"/>
          <ac:graphicFrameMkLst>
            <pc:docMk/>
            <pc:sldMk cId="2318289709" sldId="1119"/>
            <ac:graphicFrameMk id="11" creationId="{314DAC1C-7548-AD43-847D-4D92A07546B4}"/>
          </ac:graphicFrameMkLst>
        </pc:graphicFrameChg>
        <pc:graphicFrameChg chg="add mod">
          <ac:chgData name="Ruoran Lin (DCP)" userId="5ba63a2c-b5bc-4f17-a87a-a3a824a8af35" providerId="ADAL" clId="{15ACCAF1-809F-CF4E-AF90-44371B6094D7}" dt="2020-08-03T22:54:38.523" v="827" actId="14100"/>
          <ac:graphicFrameMkLst>
            <pc:docMk/>
            <pc:sldMk cId="2318289709" sldId="1119"/>
            <ac:graphicFrameMk id="12" creationId="{013EBD7A-8F34-E341-9996-60CA6B2E0C8E}"/>
          </ac:graphicFrameMkLst>
        </pc:graphicFrameChg>
        <pc:graphicFrameChg chg="add del mod">
          <ac:chgData name="Ruoran Lin (DCP)" userId="5ba63a2c-b5bc-4f17-a87a-a3a824a8af35" providerId="ADAL" clId="{15ACCAF1-809F-CF4E-AF90-44371B6094D7}" dt="2020-07-27T23:03:27.352" v="155"/>
          <ac:graphicFrameMkLst>
            <pc:docMk/>
            <pc:sldMk cId="2318289709" sldId="1119"/>
            <ac:graphicFrameMk id="13" creationId="{CF9C6408-D442-3F4B-BC9E-BBA8FF4D2B0C}"/>
          </ac:graphicFrameMkLst>
        </pc:graphicFrameChg>
        <pc:graphicFrameChg chg="add del mod">
          <ac:chgData name="Ruoran Lin (DCP)" userId="5ba63a2c-b5bc-4f17-a87a-a3a824a8af35" providerId="ADAL" clId="{15ACCAF1-809F-CF4E-AF90-44371B6094D7}" dt="2020-08-03T22:53:41.212" v="798" actId="478"/>
          <ac:graphicFrameMkLst>
            <pc:docMk/>
            <pc:sldMk cId="2318289709" sldId="1119"/>
            <ac:graphicFrameMk id="14" creationId="{314DAC1C-7548-AD43-847D-4D92A07546B4}"/>
          </ac:graphicFrameMkLst>
        </pc:graphicFrameChg>
        <pc:graphicFrameChg chg="add del mod">
          <ac:chgData name="Ruoran Lin (DCP)" userId="5ba63a2c-b5bc-4f17-a87a-a3a824a8af35" providerId="ADAL" clId="{15ACCAF1-809F-CF4E-AF90-44371B6094D7}" dt="2020-08-03T22:53:42.503" v="799" actId="478"/>
          <ac:graphicFrameMkLst>
            <pc:docMk/>
            <pc:sldMk cId="2318289709" sldId="1119"/>
            <ac:graphicFrameMk id="15" creationId="{013EBD7A-8F34-E341-9996-60CA6B2E0C8E}"/>
          </ac:graphicFrameMkLst>
        </pc:graphicFrameChg>
      </pc:sldChg>
      <pc:sldChg chg="addSp delSp modSp add mod">
        <pc:chgData name="Ruoran Lin (DCP)" userId="5ba63a2c-b5bc-4f17-a87a-a3a824a8af35" providerId="ADAL" clId="{15ACCAF1-809F-CF4E-AF90-44371B6094D7}" dt="2020-08-04T03:47:24.024" v="932" actId="14100"/>
        <pc:sldMkLst>
          <pc:docMk/>
          <pc:sldMk cId="3310687531" sldId="1134"/>
        </pc:sldMkLst>
        <pc:spChg chg="del">
          <ac:chgData name="Ruoran Lin (DCP)" userId="5ba63a2c-b5bc-4f17-a87a-a3a824a8af35" providerId="ADAL" clId="{15ACCAF1-809F-CF4E-AF90-44371B6094D7}" dt="2020-08-03T23:08:51.919" v="912" actId="478"/>
          <ac:spMkLst>
            <pc:docMk/>
            <pc:sldMk cId="3310687531" sldId="1134"/>
            <ac:spMk id="7" creationId="{6EF59E5E-98DD-4CD8-BC3E-D0FCB916D322}"/>
          </ac:spMkLst>
        </pc:spChg>
        <pc:spChg chg="del">
          <ac:chgData name="Ruoran Lin (DCP)" userId="5ba63a2c-b5bc-4f17-a87a-a3a824a8af35" providerId="ADAL" clId="{15ACCAF1-809F-CF4E-AF90-44371B6094D7}" dt="2020-08-03T23:08:45.006" v="911" actId="478"/>
          <ac:spMkLst>
            <pc:docMk/>
            <pc:sldMk cId="3310687531" sldId="1134"/>
            <ac:spMk id="8" creationId="{B4306CB6-AC48-1546-B565-FD067D80C14C}"/>
          </ac:spMkLst>
        </pc:spChg>
        <pc:graphicFrameChg chg="del">
          <ac:chgData name="Ruoran Lin (DCP)" userId="5ba63a2c-b5bc-4f17-a87a-a3a824a8af35" providerId="ADAL" clId="{15ACCAF1-809F-CF4E-AF90-44371B6094D7}" dt="2020-08-03T23:08:37.409" v="910" actId="478"/>
          <ac:graphicFrameMkLst>
            <pc:docMk/>
            <pc:sldMk cId="3310687531" sldId="1134"/>
            <ac:graphicFrameMk id="9" creationId="{7CA9D784-8A66-BF44-A6EA-3D4DAC7EF62A}"/>
          </ac:graphicFrameMkLst>
        </pc:graphicFrameChg>
        <pc:graphicFrameChg chg="add mod">
          <ac:chgData name="Ruoran Lin (DCP)" userId="5ba63a2c-b5bc-4f17-a87a-a3a824a8af35" providerId="ADAL" clId="{15ACCAF1-809F-CF4E-AF90-44371B6094D7}" dt="2020-08-04T03:47:24.024" v="932" actId="14100"/>
          <ac:graphicFrameMkLst>
            <pc:docMk/>
            <pc:sldMk cId="3310687531" sldId="1134"/>
            <ac:graphicFrameMk id="10" creationId="{EDA35A6A-F0D3-2048-9F51-ECB2432A8458}"/>
          </ac:graphicFrameMkLst>
        </pc:graphicFrameChg>
        <pc:graphicFrameChg chg="add mod">
          <ac:chgData name="Ruoran Lin (DCP)" userId="5ba63a2c-b5bc-4f17-a87a-a3a824a8af35" providerId="ADAL" clId="{15ACCAF1-809F-CF4E-AF90-44371B6094D7}" dt="2020-08-04T03:46:51.241" v="925" actId="404"/>
          <ac:graphicFrameMkLst>
            <pc:docMk/>
            <pc:sldMk cId="3310687531" sldId="1134"/>
            <ac:graphicFrameMk id="11" creationId="{15CA4A1D-9978-FE49-B612-0CA1F8C502BF}"/>
          </ac:graphicFrameMkLst>
        </pc:graphicFrameChg>
      </pc:sldChg>
    </pc:docChg>
  </pc:docChgLst>
  <pc:docChgLst>
    <pc:chgData name="Yijun Ma" userId="6b140692-16f7-4f54-a783-028f16aab7b0" providerId="ADAL" clId="{FAF52CAE-FA1D-495A-80F1-99F29542E666}"/>
    <pc:docChg chg="undo redo custSel addSld modSld">
      <pc:chgData name="Yijun Ma" userId="6b140692-16f7-4f54-a783-028f16aab7b0" providerId="ADAL" clId="{FAF52CAE-FA1D-495A-80F1-99F29542E666}" dt="2020-07-27T17:20:14.476" v="183" actId="20577"/>
      <pc:docMkLst>
        <pc:docMk/>
      </pc:docMkLst>
      <pc:sldChg chg="addSp delSp modSp modNotesTx">
        <pc:chgData name="Yijun Ma" userId="6b140692-16f7-4f54-a783-028f16aab7b0" providerId="ADAL" clId="{FAF52CAE-FA1D-495A-80F1-99F29542E666}" dt="2020-07-27T16:20:32.075" v="61" actId="14100"/>
        <pc:sldMkLst>
          <pc:docMk/>
          <pc:sldMk cId="2415737977" sldId="1063"/>
        </pc:sldMkLst>
        <pc:spChg chg="del mod">
          <ac:chgData name="Yijun Ma" userId="6b140692-16f7-4f54-a783-028f16aab7b0" providerId="ADAL" clId="{FAF52CAE-FA1D-495A-80F1-99F29542E666}" dt="2020-07-27T15:44:33.068" v="2" actId="478"/>
          <ac:spMkLst>
            <pc:docMk/>
            <pc:sldMk cId="2415737977" sldId="1063"/>
            <ac:spMk id="3" creationId="{FCF75022-195B-4E28-A702-EB7B1EFF38DB}"/>
          </ac:spMkLst>
        </pc:spChg>
        <pc:spChg chg="mod">
          <ac:chgData name="Yijun Ma" userId="6b140692-16f7-4f54-a783-028f16aab7b0" providerId="ADAL" clId="{FAF52CAE-FA1D-495A-80F1-99F29542E666}" dt="2020-07-27T15:51:03.596" v="33" actId="14100"/>
          <ac:spMkLst>
            <pc:docMk/>
            <pc:sldMk cId="2415737977" sldId="1063"/>
            <ac:spMk id="20" creationId="{F5A93634-EFB0-4F1D-8EB9-1AD5FF7384D9}"/>
          </ac:spMkLst>
        </pc:spChg>
        <pc:picChg chg="add del">
          <ac:chgData name="Yijun Ma" userId="6b140692-16f7-4f54-a783-028f16aab7b0" providerId="ADAL" clId="{FAF52CAE-FA1D-495A-80F1-99F29542E666}" dt="2020-07-27T15:46:06.905" v="12" actId="478"/>
          <ac:picMkLst>
            <pc:docMk/>
            <pc:sldMk cId="2415737977" sldId="1063"/>
            <ac:picMk id="5" creationId="{8979EC0E-2467-40FB-8BB6-173E1984E623}"/>
          </ac:picMkLst>
        </pc:picChg>
        <pc:picChg chg="add del mod ord">
          <ac:chgData name="Yijun Ma" userId="6b140692-16f7-4f54-a783-028f16aab7b0" providerId="ADAL" clId="{FAF52CAE-FA1D-495A-80F1-99F29542E666}" dt="2020-07-27T15:55:08.761" v="53" actId="478"/>
          <ac:picMkLst>
            <pc:docMk/>
            <pc:sldMk cId="2415737977" sldId="1063"/>
            <ac:picMk id="6" creationId="{356F2D77-17A1-4B5B-BCCC-A91DE90BAB07}"/>
          </ac:picMkLst>
        </pc:picChg>
        <pc:picChg chg="add del mod">
          <ac:chgData name="Yijun Ma" userId="6b140692-16f7-4f54-a783-028f16aab7b0" providerId="ADAL" clId="{FAF52CAE-FA1D-495A-80F1-99F29542E666}" dt="2020-07-27T15:47:42.273" v="20" actId="478"/>
          <ac:picMkLst>
            <pc:docMk/>
            <pc:sldMk cId="2415737977" sldId="1063"/>
            <ac:picMk id="8" creationId="{E3435145-286F-44F9-A61A-3F4875D72DE7}"/>
          </ac:picMkLst>
        </pc:picChg>
        <pc:picChg chg="add mod">
          <ac:chgData name="Yijun Ma" userId="6b140692-16f7-4f54-a783-028f16aab7b0" providerId="ADAL" clId="{FAF52CAE-FA1D-495A-80F1-99F29542E666}" dt="2020-07-27T15:51:00.573" v="32" actId="1076"/>
          <ac:picMkLst>
            <pc:docMk/>
            <pc:sldMk cId="2415737977" sldId="1063"/>
            <ac:picMk id="9" creationId="{036B5E82-B5F7-4D42-BE55-28C0061F4209}"/>
          </ac:picMkLst>
        </pc:picChg>
        <pc:picChg chg="del">
          <ac:chgData name="Yijun Ma" userId="6b140692-16f7-4f54-a783-028f16aab7b0" providerId="ADAL" clId="{FAF52CAE-FA1D-495A-80F1-99F29542E666}" dt="2020-07-27T15:46:47.945" v="15" actId="478"/>
          <ac:picMkLst>
            <pc:docMk/>
            <pc:sldMk cId="2415737977" sldId="1063"/>
            <ac:picMk id="10" creationId="{9B396F71-6ED7-4BBF-AA58-DFD895F232DF}"/>
          </ac:picMkLst>
        </pc:picChg>
        <pc:picChg chg="del">
          <ac:chgData name="Yijun Ma" userId="6b140692-16f7-4f54-a783-028f16aab7b0" providerId="ADAL" clId="{FAF52CAE-FA1D-495A-80F1-99F29542E666}" dt="2020-07-27T15:50:38.906" v="29" actId="478"/>
          <ac:picMkLst>
            <pc:docMk/>
            <pc:sldMk cId="2415737977" sldId="1063"/>
            <ac:picMk id="11" creationId="{A399E93C-5CDC-4A90-905C-EAECA2B4F0B7}"/>
          </ac:picMkLst>
        </pc:picChg>
        <pc:picChg chg="del">
          <ac:chgData name="Yijun Ma" userId="6b140692-16f7-4f54-a783-028f16aab7b0" providerId="ADAL" clId="{FAF52CAE-FA1D-495A-80F1-99F29542E666}" dt="2020-07-27T15:51:08.057" v="34" actId="478"/>
          <ac:picMkLst>
            <pc:docMk/>
            <pc:sldMk cId="2415737977" sldId="1063"/>
            <ac:picMk id="12" creationId="{9D23B56C-C102-45EC-B1CB-BC616FF36774}"/>
          </ac:picMkLst>
        </pc:picChg>
        <pc:picChg chg="add del mod ord">
          <ac:chgData name="Yijun Ma" userId="6b140692-16f7-4f54-a783-028f16aab7b0" providerId="ADAL" clId="{FAF52CAE-FA1D-495A-80F1-99F29542E666}" dt="2020-07-27T15:55:48.361" v="59" actId="478"/>
          <ac:picMkLst>
            <pc:docMk/>
            <pc:sldMk cId="2415737977" sldId="1063"/>
            <ac:picMk id="13" creationId="{41F2EF08-3828-487D-8151-09086580788A}"/>
          </ac:picMkLst>
        </pc:picChg>
        <pc:picChg chg="add mod">
          <ac:chgData name="Yijun Ma" userId="6b140692-16f7-4f54-a783-028f16aab7b0" providerId="ADAL" clId="{FAF52CAE-FA1D-495A-80F1-99F29542E666}" dt="2020-07-27T16:20:32.075" v="61" actId="14100"/>
          <ac:picMkLst>
            <pc:docMk/>
            <pc:sldMk cId="2415737977" sldId="1063"/>
            <ac:picMk id="14" creationId="{D9B398A0-7323-42D7-AA44-467DF1591D8F}"/>
          </ac:picMkLst>
        </pc:picChg>
        <pc:picChg chg="add mod ord">
          <ac:chgData name="Yijun Ma" userId="6b140692-16f7-4f54-a783-028f16aab7b0" providerId="ADAL" clId="{FAF52CAE-FA1D-495A-80F1-99F29542E666}" dt="2020-07-27T15:55:53.233" v="60" actId="1076"/>
          <ac:picMkLst>
            <pc:docMk/>
            <pc:sldMk cId="2415737977" sldId="1063"/>
            <ac:picMk id="15" creationId="{306E76E2-4D68-4337-BAE0-9846F114AC89}"/>
          </ac:picMkLst>
        </pc:picChg>
        <pc:picChg chg="add mod ord">
          <ac:chgData name="Yijun Ma" userId="6b140692-16f7-4f54-a783-028f16aab7b0" providerId="ADAL" clId="{FAF52CAE-FA1D-495A-80F1-99F29542E666}" dt="2020-07-27T15:55:07.315" v="52" actId="167"/>
          <ac:picMkLst>
            <pc:docMk/>
            <pc:sldMk cId="2415737977" sldId="1063"/>
            <ac:picMk id="16" creationId="{FCADD0E3-69A0-42DD-8BE3-EB28B65DAD4E}"/>
          </ac:picMkLst>
        </pc:picChg>
      </pc:sldChg>
      <pc:sldChg chg="addSp delSp modSp add modNotesTx">
        <pc:chgData name="Yijun Ma" userId="6b140692-16f7-4f54-a783-028f16aab7b0" providerId="ADAL" clId="{FAF52CAE-FA1D-495A-80F1-99F29542E666}" dt="2020-07-27T17:19:07.885" v="175" actId="20577"/>
        <pc:sldMkLst>
          <pc:docMk/>
          <pc:sldMk cId="3338364421" sldId="1128"/>
        </pc:sldMkLst>
        <pc:spChg chg="mod">
          <ac:chgData name="Yijun Ma" userId="6b140692-16f7-4f54-a783-028f16aab7b0" providerId="ADAL" clId="{FAF52CAE-FA1D-495A-80F1-99F29542E666}" dt="2020-07-27T17:14:25.596" v="156" actId="1076"/>
          <ac:spMkLst>
            <pc:docMk/>
            <pc:sldMk cId="3338364421" sldId="1128"/>
            <ac:spMk id="3" creationId="{FCF75022-195B-4E28-A702-EB7B1EFF38DB}"/>
          </ac:spMkLst>
        </pc:spChg>
        <pc:spChg chg="add mod">
          <ac:chgData name="Yijun Ma" userId="6b140692-16f7-4f54-a783-028f16aab7b0" providerId="ADAL" clId="{FAF52CAE-FA1D-495A-80F1-99F29542E666}" dt="2020-07-27T16:45:38.441" v="128" actId="120"/>
          <ac:spMkLst>
            <pc:docMk/>
            <pc:sldMk cId="3338364421" sldId="1128"/>
            <ac:spMk id="8" creationId="{34CCD13F-ECFC-4789-86D6-115EF2F75F10}"/>
          </ac:spMkLst>
        </pc:spChg>
        <pc:spChg chg="add mod">
          <ac:chgData name="Yijun Ma" userId="6b140692-16f7-4f54-a783-028f16aab7b0" providerId="ADAL" clId="{FAF52CAE-FA1D-495A-80F1-99F29542E666}" dt="2020-07-27T17:14:32.104" v="157" actId="571"/>
          <ac:spMkLst>
            <pc:docMk/>
            <pc:sldMk cId="3338364421" sldId="1128"/>
            <ac:spMk id="16" creationId="{085D41A7-F096-4C0E-B8F3-DD0B86291275}"/>
          </ac:spMkLst>
        </pc:spChg>
        <pc:picChg chg="del">
          <ac:chgData name="Yijun Ma" userId="6b140692-16f7-4f54-a783-028f16aab7b0" providerId="ADAL" clId="{FAF52CAE-FA1D-495A-80F1-99F29542E666}" dt="2020-07-27T15:54:26.242" v="43" actId="478"/>
          <ac:picMkLst>
            <pc:docMk/>
            <pc:sldMk cId="3338364421" sldId="1128"/>
            <ac:picMk id="5" creationId="{8979EC0E-2467-40FB-8BB6-173E1984E623}"/>
          </ac:picMkLst>
        </pc:picChg>
        <pc:picChg chg="add del mod ord modCrop">
          <ac:chgData name="Yijun Ma" userId="6b140692-16f7-4f54-a783-028f16aab7b0" providerId="ADAL" clId="{FAF52CAE-FA1D-495A-80F1-99F29542E666}" dt="2020-07-27T16:59:50.572" v="135" actId="478"/>
          <ac:picMkLst>
            <pc:docMk/>
            <pc:sldMk cId="3338364421" sldId="1128"/>
            <ac:picMk id="6" creationId="{96910B24-676B-4424-8AD8-A463F943E12F}"/>
          </ac:picMkLst>
        </pc:picChg>
        <pc:picChg chg="add mod ord">
          <ac:chgData name="Yijun Ma" userId="6b140692-16f7-4f54-a783-028f16aab7b0" providerId="ADAL" clId="{FAF52CAE-FA1D-495A-80F1-99F29542E666}" dt="2020-07-27T16:59:48.916" v="134" actId="167"/>
          <ac:picMkLst>
            <pc:docMk/>
            <pc:sldMk cId="3338364421" sldId="1128"/>
            <ac:picMk id="9" creationId="{6D55A32E-91B6-49B5-9E09-6BE836257BFD}"/>
          </ac:picMkLst>
        </pc:picChg>
        <pc:picChg chg="del mod">
          <ac:chgData name="Yijun Ma" userId="6b140692-16f7-4f54-a783-028f16aab7b0" providerId="ADAL" clId="{FAF52CAE-FA1D-495A-80F1-99F29542E666}" dt="2020-07-27T16:59:51.285" v="136" actId="478"/>
          <ac:picMkLst>
            <pc:docMk/>
            <pc:sldMk cId="3338364421" sldId="1128"/>
            <ac:picMk id="10" creationId="{9B396F71-6ED7-4BBF-AA58-DFD895F232DF}"/>
          </ac:picMkLst>
        </pc:picChg>
        <pc:picChg chg="del">
          <ac:chgData name="Yijun Ma" userId="6b140692-16f7-4f54-a783-028f16aab7b0" providerId="ADAL" clId="{FAF52CAE-FA1D-495A-80F1-99F29542E666}" dt="2020-07-27T17:14:12.979" v="146" actId="478"/>
          <ac:picMkLst>
            <pc:docMk/>
            <pc:sldMk cId="3338364421" sldId="1128"/>
            <ac:picMk id="11" creationId="{A399E93C-5CDC-4A90-905C-EAECA2B4F0B7}"/>
          </ac:picMkLst>
        </pc:picChg>
        <pc:picChg chg="del">
          <ac:chgData name="Yijun Ma" userId="6b140692-16f7-4f54-a783-028f16aab7b0" providerId="ADAL" clId="{FAF52CAE-FA1D-495A-80F1-99F29542E666}" dt="2020-07-27T17:14:13.606" v="147" actId="478"/>
          <ac:picMkLst>
            <pc:docMk/>
            <pc:sldMk cId="3338364421" sldId="1128"/>
            <ac:picMk id="12" creationId="{9D23B56C-C102-45EC-B1CB-BC616FF36774}"/>
          </ac:picMkLst>
        </pc:picChg>
        <pc:picChg chg="add del mod">
          <ac:chgData name="Yijun Ma" userId="6b140692-16f7-4f54-a783-028f16aab7b0" providerId="ADAL" clId="{FAF52CAE-FA1D-495A-80F1-99F29542E666}" dt="2020-07-27T17:12:02.179" v="140" actId="478"/>
          <ac:picMkLst>
            <pc:docMk/>
            <pc:sldMk cId="3338364421" sldId="1128"/>
            <ac:picMk id="13" creationId="{3B29198E-D777-45A5-8A20-4C4BCA99FE6B}"/>
          </ac:picMkLst>
        </pc:picChg>
        <pc:picChg chg="add mod ord">
          <ac:chgData name="Yijun Ma" userId="6b140692-16f7-4f54-a783-028f16aab7b0" providerId="ADAL" clId="{FAF52CAE-FA1D-495A-80F1-99F29542E666}" dt="2020-07-27T17:14:11.697" v="145" actId="167"/>
          <ac:picMkLst>
            <pc:docMk/>
            <pc:sldMk cId="3338364421" sldId="1128"/>
            <ac:picMk id="14" creationId="{EFB0D935-F9F2-4898-8939-C70C8045FF6B}"/>
          </ac:picMkLst>
        </pc:picChg>
        <pc:picChg chg="add mod">
          <ac:chgData name="Yijun Ma" userId="6b140692-16f7-4f54-a783-028f16aab7b0" providerId="ADAL" clId="{FAF52CAE-FA1D-495A-80F1-99F29542E666}" dt="2020-07-27T17:14:54.775" v="160" actId="14100"/>
          <ac:picMkLst>
            <pc:docMk/>
            <pc:sldMk cId="3338364421" sldId="1128"/>
            <ac:picMk id="15" creationId="{C88544C2-5CDD-4CC3-B072-42E18223686E}"/>
          </ac:picMkLst>
        </pc:picChg>
        <pc:picChg chg="add mod">
          <ac:chgData name="Yijun Ma" userId="6b140692-16f7-4f54-a783-028f16aab7b0" providerId="ADAL" clId="{FAF52CAE-FA1D-495A-80F1-99F29542E666}" dt="2020-07-27T17:15:18.951" v="163" actId="14100"/>
          <ac:picMkLst>
            <pc:docMk/>
            <pc:sldMk cId="3338364421" sldId="1128"/>
            <ac:picMk id="17" creationId="{70815818-8F07-4978-B207-9507630D13C5}"/>
          </ac:picMkLst>
        </pc:picChg>
      </pc:sldChg>
    </pc:docChg>
  </pc:docChgLst>
  <pc:docChgLst>
    <pc:chgData name="Angela Bellisio (DCP)" userId="191d6709-c92d-4cc4-bbcb-8a110756faa6" providerId="ADAL" clId="{D5473372-B30C-CD48-99A9-79D83767D661}"/>
    <pc:docChg chg="undo custSel modSld">
      <pc:chgData name="Angela Bellisio (DCP)" userId="191d6709-c92d-4cc4-bbcb-8a110756faa6" providerId="ADAL" clId="{D5473372-B30C-CD48-99A9-79D83767D661}" dt="2020-07-07T21:37:02.926" v="47" actId="20577"/>
      <pc:docMkLst>
        <pc:docMk/>
      </pc:docMkLst>
      <pc:sldChg chg="modSp">
        <pc:chgData name="Angela Bellisio (DCP)" userId="191d6709-c92d-4cc4-bbcb-8a110756faa6" providerId="ADAL" clId="{D5473372-B30C-CD48-99A9-79D83767D661}" dt="2020-07-07T21:34:56.166" v="40" actId="20577"/>
        <pc:sldMkLst>
          <pc:docMk/>
          <pc:sldMk cId="1519931681" sldId="923"/>
        </pc:sldMkLst>
        <pc:spChg chg="mod">
          <ac:chgData name="Angela Bellisio (DCP)" userId="191d6709-c92d-4cc4-bbcb-8a110756faa6" providerId="ADAL" clId="{D5473372-B30C-CD48-99A9-79D83767D661}" dt="2020-07-07T21:34:56.166" v="40" actId="20577"/>
          <ac:spMkLst>
            <pc:docMk/>
            <pc:sldMk cId="1519931681" sldId="923"/>
            <ac:spMk id="25" creationId="{13B87C1F-74FA-7648-A5E7-2CB01BB275C1}"/>
          </ac:spMkLst>
        </pc:spChg>
      </pc:sldChg>
      <pc:sldChg chg="modSp">
        <pc:chgData name="Angela Bellisio (DCP)" userId="191d6709-c92d-4cc4-bbcb-8a110756faa6" providerId="ADAL" clId="{D5473372-B30C-CD48-99A9-79D83767D661}" dt="2020-07-07T21:21:36.842" v="37" actId="1036"/>
        <pc:sldMkLst>
          <pc:docMk/>
          <pc:sldMk cId="3893609620" sldId="945"/>
        </pc:sldMkLst>
        <pc:spChg chg="mod">
          <ac:chgData name="Angela Bellisio (DCP)" userId="191d6709-c92d-4cc4-bbcb-8a110756faa6" providerId="ADAL" clId="{D5473372-B30C-CD48-99A9-79D83767D661}" dt="2020-07-07T21:21:20.650" v="24" actId="1076"/>
          <ac:spMkLst>
            <pc:docMk/>
            <pc:sldMk cId="3893609620" sldId="945"/>
            <ac:spMk id="29" creationId="{173B2FFE-0BA3-4530-9382-3A016A5A9F71}"/>
          </ac:spMkLst>
        </pc:spChg>
        <pc:spChg chg="mod">
          <ac:chgData name="Angela Bellisio (DCP)" userId="191d6709-c92d-4cc4-bbcb-8a110756faa6" providerId="ADAL" clId="{D5473372-B30C-CD48-99A9-79D83767D661}" dt="2020-07-07T21:21:20.650" v="24" actId="1076"/>
          <ac:spMkLst>
            <pc:docMk/>
            <pc:sldMk cId="3893609620" sldId="945"/>
            <ac:spMk id="30" creationId="{94EFE761-FD16-48E0-933F-AD68746AB657}"/>
          </ac:spMkLst>
        </pc:spChg>
        <pc:spChg chg="mod">
          <ac:chgData name="Angela Bellisio (DCP)" userId="191d6709-c92d-4cc4-bbcb-8a110756faa6" providerId="ADAL" clId="{D5473372-B30C-CD48-99A9-79D83767D661}" dt="2020-07-07T21:21:20.650" v="24" actId="1076"/>
          <ac:spMkLst>
            <pc:docMk/>
            <pc:sldMk cId="3893609620" sldId="945"/>
            <ac:spMk id="31" creationId="{0BF07143-E56E-40FA-9849-54DC7832BB78}"/>
          </ac:spMkLst>
        </pc:spChg>
        <pc:spChg chg="mod">
          <ac:chgData name="Angela Bellisio (DCP)" userId="191d6709-c92d-4cc4-bbcb-8a110756faa6" providerId="ADAL" clId="{D5473372-B30C-CD48-99A9-79D83767D661}" dt="2020-07-07T21:21:20.650" v="24" actId="1076"/>
          <ac:spMkLst>
            <pc:docMk/>
            <pc:sldMk cId="3893609620" sldId="945"/>
            <ac:spMk id="32" creationId="{4A9D15F8-3390-45AE-BEF1-6CD30E8208A6}"/>
          </ac:spMkLst>
        </pc:spChg>
        <pc:spChg chg="mod">
          <ac:chgData name="Angela Bellisio (DCP)" userId="191d6709-c92d-4cc4-bbcb-8a110756faa6" providerId="ADAL" clId="{D5473372-B30C-CD48-99A9-79D83767D661}" dt="2020-07-07T21:21:20.650" v="24" actId="1076"/>
          <ac:spMkLst>
            <pc:docMk/>
            <pc:sldMk cId="3893609620" sldId="945"/>
            <ac:spMk id="33" creationId="{6940218C-8629-4C01-8501-CC380A5F2E2B}"/>
          </ac:spMkLst>
        </pc:spChg>
        <pc:spChg chg="mod">
          <ac:chgData name="Angela Bellisio (DCP)" userId="191d6709-c92d-4cc4-bbcb-8a110756faa6" providerId="ADAL" clId="{D5473372-B30C-CD48-99A9-79D83767D661}" dt="2020-07-07T21:21:20.650" v="24" actId="1076"/>
          <ac:spMkLst>
            <pc:docMk/>
            <pc:sldMk cId="3893609620" sldId="945"/>
            <ac:spMk id="34" creationId="{EB37EFAB-7DC3-4863-959A-C09E68B63594}"/>
          </ac:spMkLst>
        </pc:spChg>
        <pc:spChg chg="mod">
          <ac:chgData name="Angela Bellisio (DCP)" userId="191d6709-c92d-4cc4-bbcb-8a110756faa6" providerId="ADAL" clId="{D5473372-B30C-CD48-99A9-79D83767D661}" dt="2020-07-07T21:21:20.650" v="24" actId="1076"/>
          <ac:spMkLst>
            <pc:docMk/>
            <pc:sldMk cId="3893609620" sldId="945"/>
            <ac:spMk id="35" creationId="{4C2FC8C1-9DF4-40FB-89A2-1816329ABBD9}"/>
          </ac:spMkLst>
        </pc:spChg>
        <pc:spChg chg="mod">
          <ac:chgData name="Angela Bellisio (DCP)" userId="191d6709-c92d-4cc4-bbcb-8a110756faa6" providerId="ADAL" clId="{D5473372-B30C-CD48-99A9-79D83767D661}" dt="2020-07-07T21:21:20.650" v="24" actId="1076"/>
          <ac:spMkLst>
            <pc:docMk/>
            <pc:sldMk cId="3893609620" sldId="945"/>
            <ac:spMk id="36" creationId="{91785D03-5D68-4D25-862A-E3F2301EBE56}"/>
          </ac:spMkLst>
        </pc:spChg>
        <pc:spChg chg="mod">
          <ac:chgData name="Angela Bellisio (DCP)" userId="191d6709-c92d-4cc4-bbcb-8a110756faa6" providerId="ADAL" clId="{D5473372-B30C-CD48-99A9-79D83767D661}" dt="2020-07-07T21:21:20.650" v="24" actId="1076"/>
          <ac:spMkLst>
            <pc:docMk/>
            <pc:sldMk cId="3893609620" sldId="945"/>
            <ac:spMk id="40" creationId="{95D0B7F4-4459-46DD-A8FF-43125A0CC4B3}"/>
          </ac:spMkLst>
        </pc:spChg>
        <pc:spChg chg="mod">
          <ac:chgData name="Angela Bellisio (DCP)" userId="191d6709-c92d-4cc4-bbcb-8a110756faa6" providerId="ADAL" clId="{D5473372-B30C-CD48-99A9-79D83767D661}" dt="2020-07-07T21:21:20.650" v="24" actId="1076"/>
          <ac:spMkLst>
            <pc:docMk/>
            <pc:sldMk cId="3893609620" sldId="945"/>
            <ac:spMk id="41" creationId="{8538FE93-CF23-4E03-BE74-1671044A75D8}"/>
          </ac:spMkLst>
        </pc:spChg>
        <pc:grpChg chg="mod">
          <ac:chgData name="Angela Bellisio (DCP)" userId="191d6709-c92d-4cc4-bbcb-8a110756faa6" providerId="ADAL" clId="{D5473372-B30C-CD48-99A9-79D83767D661}" dt="2020-07-07T21:21:20.650" v="24" actId="1076"/>
          <ac:grpSpMkLst>
            <pc:docMk/>
            <pc:sldMk cId="3893609620" sldId="945"/>
            <ac:grpSpMk id="3" creationId="{0D0C721A-3082-4253-B8C5-C98D95E2E26E}"/>
          </ac:grpSpMkLst>
        </pc:grpChg>
        <pc:grpChg chg="mod">
          <ac:chgData name="Angela Bellisio (DCP)" userId="191d6709-c92d-4cc4-bbcb-8a110756faa6" providerId="ADAL" clId="{D5473372-B30C-CD48-99A9-79D83767D661}" dt="2020-07-07T21:21:36.842" v="37" actId="1036"/>
          <ac:grpSpMkLst>
            <pc:docMk/>
            <pc:sldMk cId="3893609620" sldId="945"/>
            <ac:grpSpMk id="7" creationId="{EBC397E9-2039-4439-8950-6A823402C1B9}"/>
          </ac:grpSpMkLst>
        </pc:grpChg>
        <pc:grpChg chg="mod">
          <ac:chgData name="Angela Bellisio (DCP)" userId="191d6709-c92d-4cc4-bbcb-8a110756faa6" providerId="ADAL" clId="{D5473372-B30C-CD48-99A9-79D83767D661}" dt="2020-07-07T21:17:18.057" v="6" actId="14100"/>
          <ac:grpSpMkLst>
            <pc:docMk/>
            <pc:sldMk cId="3893609620" sldId="945"/>
            <ac:grpSpMk id="8" creationId="{5B692D7E-E7A2-4F13-8966-0BFDE2B1B8A6}"/>
          </ac:grpSpMkLst>
        </pc:grpChg>
        <pc:grpChg chg="mod">
          <ac:chgData name="Angela Bellisio (DCP)" userId="191d6709-c92d-4cc4-bbcb-8a110756faa6" providerId="ADAL" clId="{D5473372-B30C-CD48-99A9-79D83767D661}" dt="2020-07-07T21:21:20.650" v="24" actId="1076"/>
          <ac:grpSpMkLst>
            <pc:docMk/>
            <pc:sldMk cId="3893609620" sldId="945"/>
            <ac:grpSpMk id="25" creationId="{5BABA797-0DCD-4E58-9609-E0B0D33B5F04}"/>
          </ac:grpSpMkLst>
        </pc:grpChg>
        <pc:grpChg chg="mod">
          <ac:chgData name="Angela Bellisio (DCP)" userId="191d6709-c92d-4cc4-bbcb-8a110756faa6" providerId="ADAL" clId="{D5473372-B30C-CD48-99A9-79D83767D661}" dt="2020-07-07T21:21:20.650" v="24" actId="1076"/>
          <ac:grpSpMkLst>
            <pc:docMk/>
            <pc:sldMk cId="3893609620" sldId="945"/>
            <ac:grpSpMk id="27" creationId="{3795B927-32AF-48BE-8D06-B3FA72EA010A}"/>
          </ac:grpSpMkLst>
        </pc:grpChg>
        <pc:grpChg chg="mod">
          <ac:chgData name="Angela Bellisio (DCP)" userId="191d6709-c92d-4cc4-bbcb-8a110756faa6" providerId="ADAL" clId="{D5473372-B30C-CD48-99A9-79D83767D661}" dt="2020-07-07T21:21:20.650" v="24" actId="1076"/>
          <ac:grpSpMkLst>
            <pc:docMk/>
            <pc:sldMk cId="3893609620" sldId="945"/>
            <ac:grpSpMk id="38" creationId="{A148A6BF-0FCB-402E-92DF-B905255AB259}"/>
          </ac:grpSpMkLst>
        </pc:grpChg>
        <pc:graphicFrameChg chg="mod">
          <ac:chgData name="Angela Bellisio (DCP)" userId="191d6709-c92d-4cc4-bbcb-8a110756faa6" providerId="ADAL" clId="{D5473372-B30C-CD48-99A9-79D83767D661}" dt="2020-07-07T21:21:20.650" v="24" actId="1076"/>
          <ac:graphicFrameMkLst>
            <pc:docMk/>
            <pc:sldMk cId="3893609620" sldId="945"/>
            <ac:graphicFrameMk id="28" creationId="{B5C1112F-4DEC-4BBF-B66C-BD9D7E491B5B}"/>
          </ac:graphicFrameMkLst>
        </pc:graphicFrameChg>
        <pc:graphicFrameChg chg="mod">
          <ac:chgData name="Angela Bellisio (DCP)" userId="191d6709-c92d-4cc4-bbcb-8a110756faa6" providerId="ADAL" clId="{D5473372-B30C-CD48-99A9-79D83767D661}" dt="2020-07-07T21:15:54.372" v="4"/>
          <ac:graphicFrameMkLst>
            <pc:docMk/>
            <pc:sldMk cId="3893609620" sldId="945"/>
            <ac:graphicFrameMk id="42" creationId="{A0807E5F-4857-4EC3-B4F6-C9AE10D6552D}"/>
          </ac:graphicFrameMkLst>
        </pc:graphicFrameChg>
        <pc:cxnChg chg="mod">
          <ac:chgData name="Angela Bellisio (DCP)" userId="191d6709-c92d-4cc4-bbcb-8a110756faa6" providerId="ADAL" clId="{D5473372-B30C-CD48-99A9-79D83767D661}" dt="2020-07-07T21:21:20.650" v="24" actId="1076"/>
          <ac:cxnSpMkLst>
            <pc:docMk/>
            <pc:sldMk cId="3893609620" sldId="945"/>
            <ac:cxnSpMk id="39" creationId="{9EFFE4AE-851E-4579-9EFE-99E2D84194BA}"/>
          </ac:cxnSpMkLst>
        </pc:cxnChg>
      </pc:sldChg>
      <pc:sldChg chg="modSp">
        <pc:chgData name="Angela Bellisio (DCP)" userId="191d6709-c92d-4cc4-bbcb-8a110756faa6" providerId="ADAL" clId="{D5473372-B30C-CD48-99A9-79D83767D661}" dt="2020-07-07T21:36:01.207" v="45" actId="20577"/>
        <pc:sldMkLst>
          <pc:docMk/>
          <pc:sldMk cId="2855638099" sldId="1089"/>
        </pc:sldMkLst>
        <pc:spChg chg="mod">
          <ac:chgData name="Angela Bellisio (DCP)" userId="191d6709-c92d-4cc4-bbcb-8a110756faa6" providerId="ADAL" clId="{D5473372-B30C-CD48-99A9-79D83767D661}" dt="2020-07-07T21:36:01.207" v="45" actId="20577"/>
          <ac:spMkLst>
            <pc:docMk/>
            <pc:sldMk cId="2855638099" sldId="1089"/>
            <ac:spMk id="3" creationId="{B6A3976F-602B-4F59-BE0E-4AFBDEFDA2C1}"/>
          </ac:spMkLst>
        </pc:spChg>
        <pc:graphicFrameChg chg="mod">
          <ac:chgData name="Angela Bellisio (DCP)" userId="191d6709-c92d-4cc4-bbcb-8a110756faa6" providerId="ADAL" clId="{D5473372-B30C-CD48-99A9-79D83767D661}" dt="2020-07-07T21:35:21.594" v="41" actId="20577"/>
          <ac:graphicFrameMkLst>
            <pc:docMk/>
            <pc:sldMk cId="2855638099" sldId="1089"/>
            <ac:graphicFrameMk id="12" creationId="{FDFB51FB-6C34-BA4D-966D-38B3F4DE955A}"/>
          </ac:graphicFrameMkLst>
        </pc:graphicFrameChg>
      </pc:sldChg>
    </pc:docChg>
  </pc:docChgLst>
  <pc:docChgLst>
    <pc:chgData name="Stephane Pierre (DCP)" userId="dc8579c3-b9ad-4a00-a438-b4c77f165554" providerId="ADAL" clId="{86CD8DC4-851B-3045-A759-8520BB3085B1}"/>
    <pc:docChg chg="undo custSel addSld delSld modSld">
      <pc:chgData name="Stephane Pierre (DCP)" userId="dc8579c3-b9ad-4a00-a438-b4c77f165554" providerId="ADAL" clId="{86CD8DC4-851B-3045-A759-8520BB3085B1}" dt="2020-07-21T19:29:14.408" v="771" actId="20577"/>
      <pc:docMkLst>
        <pc:docMk/>
      </pc:docMkLst>
      <pc:sldChg chg="addSp delSp modSp mod">
        <pc:chgData name="Stephane Pierre (DCP)" userId="dc8579c3-b9ad-4a00-a438-b4c77f165554" providerId="ADAL" clId="{86CD8DC4-851B-3045-A759-8520BB3085B1}" dt="2020-07-21T19:29:14.408" v="771" actId="20577"/>
        <pc:sldMkLst>
          <pc:docMk/>
          <pc:sldMk cId="1519931681" sldId="923"/>
        </pc:sldMkLst>
        <pc:spChg chg="mod">
          <ac:chgData name="Stephane Pierre (DCP)" userId="dc8579c3-b9ad-4a00-a438-b4c77f165554" providerId="ADAL" clId="{86CD8DC4-851B-3045-A759-8520BB3085B1}" dt="2020-07-21T17:00:25.139" v="665" actId="1076"/>
          <ac:spMkLst>
            <pc:docMk/>
            <pc:sldMk cId="1519931681" sldId="923"/>
            <ac:spMk id="3" creationId="{1EAE4D21-EE8B-B54C-98EF-002EA66A340A}"/>
          </ac:spMkLst>
        </pc:spChg>
        <pc:spChg chg="add mod">
          <ac:chgData name="Stephane Pierre (DCP)" userId="dc8579c3-b9ad-4a00-a438-b4c77f165554" providerId="ADAL" clId="{86CD8DC4-851B-3045-A759-8520BB3085B1}" dt="2020-07-21T17:01:29.440" v="679" actId="1076"/>
          <ac:spMkLst>
            <pc:docMk/>
            <pc:sldMk cId="1519931681" sldId="923"/>
            <ac:spMk id="5" creationId="{63EFA7D0-1852-7D4F-96CE-1D2365B28907}"/>
          </ac:spMkLst>
        </pc:spChg>
        <pc:spChg chg="mod">
          <ac:chgData name="Stephane Pierre (DCP)" userId="dc8579c3-b9ad-4a00-a438-b4c77f165554" providerId="ADAL" clId="{86CD8DC4-851B-3045-A759-8520BB3085B1}" dt="2020-07-21T17:00:28.189" v="666" actId="1076"/>
          <ac:spMkLst>
            <pc:docMk/>
            <pc:sldMk cId="1519931681" sldId="923"/>
            <ac:spMk id="13" creationId="{174F846C-5F73-894A-A1AF-0A935B8139E2}"/>
          </ac:spMkLst>
        </pc:spChg>
        <pc:spChg chg="mod">
          <ac:chgData name="Stephane Pierre (DCP)" userId="dc8579c3-b9ad-4a00-a438-b4c77f165554" providerId="ADAL" clId="{86CD8DC4-851B-3045-A759-8520BB3085B1}" dt="2020-07-21T17:00:31.304" v="667" actId="1076"/>
          <ac:spMkLst>
            <pc:docMk/>
            <pc:sldMk cId="1519931681" sldId="923"/>
            <ac:spMk id="14" creationId="{149DA6FF-5364-1E48-893B-A163FFAF975B}"/>
          </ac:spMkLst>
        </pc:spChg>
        <pc:spChg chg="mod">
          <ac:chgData name="Stephane Pierre (DCP)" userId="dc8579c3-b9ad-4a00-a438-b4c77f165554" providerId="ADAL" clId="{86CD8DC4-851B-3045-A759-8520BB3085B1}" dt="2020-07-21T17:00:34.339" v="668" actId="1076"/>
          <ac:spMkLst>
            <pc:docMk/>
            <pc:sldMk cId="1519931681" sldId="923"/>
            <ac:spMk id="15" creationId="{981C1DE0-82FF-AB4F-B94E-89088541BAE7}"/>
          </ac:spMkLst>
        </pc:spChg>
        <pc:spChg chg="mod">
          <ac:chgData name="Stephane Pierre (DCP)" userId="dc8579c3-b9ad-4a00-a438-b4c77f165554" providerId="ADAL" clId="{86CD8DC4-851B-3045-A759-8520BB3085B1}" dt="2020-07-21T16:57:47.987" v="659" actId="1076"/>
          <ac:spMkLst>
            <pc:docMk/>
            <pc:sldMk cId="1519931681" sldId="923"/>
            <ac:spMk id="18" creationId="{7B8EC0C9-C4CA-4F7F-B96A-18E657F1CE11}"/>
          </ac:spMkLst>
        </pc:spChg>
        <pc:spChg chg="mod">
          <ac:chgData name="Stephane Pierre (DCP)" userId="dc8579c3-b9ad-4a00-a438-b4c77f165554" providerId="ADAL" clId="{86CD8DC4-851B-3045-A759-8520BB3085B1}" dt="2020-07-21T19:29:14.408" v="771" actId="20577"/>
          <ac:spMkLst>
            <pc:docMk/>
            <pc:sldMk cId="1519931681" sldId="923"/>
            <ac:spMk id="25" creationId="{13B87C1F-74FA-7648-A5E7-2CB01BB275C1}"/>
          </ac:spMkLst>
        </pc:spChg>
        <pc:spChg chg="mod">
          <ac:chgData name="Stephane Pierre (DCP)" userId="dc8579c3-b9ad-4a00-a438-b4c77f165554" providerId="ADAL" clId="{86CD8DC4-851B-3045-A759-8520BB3085B1}" dt="2020-07-21T16:34:47.682" v="101" actId="1076"/>
          <ac:spMkLst>
            <pc:docMk/>
            <pc:sldMk cId="1519931681" sldId="923"/>
            <ac:spMk id="27" creationId="{F6D6D052-30D1-2C45-A641-D2483BA5FCD9}"/>
          </ac:spMkLst>
        </pc:spChg>
        <pc:graphicFrameChg chg="add mod">
          <ac:chgData name="Stephane Pierre (DCP)" userId="dc8579c3-b9ad-4a00-a438-b4c77f165554" providerId="ADAL" clId="{86CD8DC4-851B-3045-A759-8520BB3085B1}" dt="2020-07-21T16:58:13.272" v="661" actId="1076"/>
          <ac:graphicFrameMkLst>
            <pc:docMk/>
            <pc:sldMk cId="1519931681" sldId="923"/>
            <ac:graphicFrameMk id="16" creationId="{A02ADCAF-7863-324A-9F02-208B1F40E7D2}"/>
          </ac:graphicFrameMkLst>
        </pc:graphicFrameChg>
        <pc:graphicFrameChg chg="add del mod">
          <ac:chgData name="Stephane Pierre (DCP)" userId="dc8579c3-b9ad-4a00-a438-b4c77f165554" providerId="ADAL" clId="{86CD8DC4-851B-3045-A759-8520BB3085B1}" dt="2020-07-21T16:36:16.410" v="112" actId="1076"/>
          <ac:graphicFrameMkLst>
            <pc:docMk/>
            <pc:sldMk cId="1519931681" sldId="923"/>
            <ac:graphicFrameMk id="17" creationId="{1CC46FE6-FAD9-9342-A3CD-D968E9257405}"/>
          </ac:graphicFrameMkLst>
        </pc:graphicFrameChg>
        <pc:graphicFrameChg chg="add mod">
          <ac:chgData name="Stephane Pierre (DCP)" userId="dc8579c3-b9ad-4a00-a438-b4c77f165554" providerId="ADAL" clId="{86CD8DC4-851B-3045-A759-8520BB3085B1}" dt="2020-07-21T17:00:17.609" v="664" actId="1076"/>
          <ac:graphicFrameMkLst>
            <pc:docMk/>
            <pc:sldMk cId="1519931681" sldId="923"/>
            <ac:graphicFrameMk id="19" creationId="{E35A8EDB-62EC-E941-AA5F-B4F65D9C755C}"/>
          </ac:graphicFrameMkLst>
        </pc:graphicFrameChg>
        <pc:graphicFrameChg chg="add del mod">
          <ac:chgData name="Stephane Pierre (DCP)" userId="dc8579c3-b9ad-4a00-a438-b4c77f165554" providerId="ADAL" clId="{86CD8DC4-851B-3045-A759-8520BB3085B1}" dt="2020-07-21T15:44:24.955" v="40" actId="478"/>
          <ac:graphicFrameMkLst>
            <pc:docMk/>
            <pc:sldMk cId="1519931681" sldId="923"/>
            <ac:graphicFrameMk id="21" creationId="{1CC46FE6-FAD9-9342-A3CD-D968E9257405}"/>
          </ac:graphicFrameMkLst>
        </pc:graphicFrameChg>
        <pc:graphicFrameChg chg="del mod">
          <ac:chgData name="Stephane Pierre (DCP)" userId="dc8579c3-b9ad-4a00-a438-b4c77f165554" providerId="ADAL" clId="{86CD8DC4-851B-3045-A759-8520BB3085B1}" dt="2020-07-21T16:31:07.222" v="70" actId="478"/>
          <ac:graphicFrameMkLst>
            <pc:docMk/>
            <pc:sldMk cId="1519931681" sldId="923"/>
            <ac:graphicFrameMk id="22" creationId="{8130AFC4-0C72-4B42-B97B-B3BBD261B280}"/>
          </ac:graphicFrameMkLst>
        </pc:graphicFrameChg>
        <pc:graphicFrameChg chg="del mod">
          <ac:chgData name="Stephane Pierre (DCP)" userId="dc8579c3-b9ad-4a00-a438-b4c77f165554" providerId="ADAL" clId="{86CD8DC4-851B-3045-A759-8520BB3085B1}" dt="2020-07-21T15:37:58.195" v="14" actId="478"/>
          <ac:graphicFrameMkLst>
            <pc:docMk/>
            <pc:sldMk cId="1519931681" sldId="923"/>
            <ac:graphicFrameMk id="24" creationId="{A02ADCAF-7863-324A-9F02-208B1F40E7D2}"/>
          </ac:graphicFrameMkLst>
        </pc:graphicFrameChg>
        <pc:cxnChg chg="add mod">
          <ac:chgData name="Stephane Pierre (DCP)" userId="dc8579c3-b9ad-4a00-a438-b4c77f165554" providerId="ADAL" clId="{86CD8DC4-851B-3045-A759-8520BB3085B1}" dt="2020-07-21T15:46:39.445" v="47"/>
          <ac:cxnSpMkLst>
            <pc:docMk/>
            <pc:sldMk cId="1519931681" sldId="923"/>
            <ac:cxnSpMk id="18" creationId="{E8A53F67-B179-E640-94D6-8ACE3CD8A149}"/>
          </ac:cxnSpMkLst>
        </pc:cxnChg>
        <pc:cxnChg chg="del">
          <ac:chgData name="Stephane Pierre (DCP)" userId="dc8579c3-b9ad-4a00-a438-b4c77f165554" providerId="ADAL" clId="{86CD8DC4-851B-3045-A759-8520BB3085B1}" dt="2020-07-21T15:48:18.246" v="48" actId="478"/>
          <ac:cxnSpMkLst>
            <pc:docMk/>
            <pc:sldMk cId="1519931681" sldId="923"/>
            <ac:cxnSpMk id="23" creationId="{93C1FFC9-0590-4943-A4AF-B32DC82E237A}"/>
          </ac:cxnSpMkLst>
        </pc:cxnChg>
      </pc:sldChg>
    </pc:docChg>
  </pc:docChgLst>
  <pc:docChgLst>
    <pc:chgData clId="Web-{575065B8-EE86-CC0B-085E-5EF9116317E4}"/>
    <pc:docChg chg="modSld">
      <pc:chgData name="" userId="" providerId="" clId="Web-{575065B8-EE86-CC0B-085E-5EF9116317E4}" dt="2020-07-14T20:23:00.108" v="6" actId="20577"/>
      <pc:docMkLst>
        <pc:docMk/>
      </pc:docMkLst>
    </pc:docChg>
  </pc:docChgLst>
  <pc:docChgLst>
    <pc:chgData clId="Web-{3F1A0745-0854-7FF9-6DC2-1E14B69DFA64}"/>
    <pc:docChg chg="modSld">
      <pc:chgData name="" userId="" providerId="" clId="Web-{3F1A0745-0854-7FF9-6DC2-1E14B69DFA64}" dt="2020-07-07T20:58:19.187" v="7" actId="14100"/>
      <pc:docMkLst>
        <pc:docMk/>
      </pc:docMkLst>
    </pc:docChg>
  </pc:docChgLst>
  <pc:docChgLst>
    <pc:chgData clId="Web-{82138BE2-38C9-D456-111E-7FC971C6837E}"/>
    <pc:docChg chg="modSld">
      <pc:chgData name="" userId="" providerId="" clId="Web-{82138BE2-38C9-D456-111E-7FC971C6837E}" dt="2020-07-14T23:39:42.111" v="5" actId="20577"/>
      <pc:docMkLst>
        <pc:docMk/>
      </pc:docMkLst>
      <pc:sldChg chg="modSp">
        <pc:chgData name="" userId="" providerId="" clId="Web-{82138BE2-38C9-D456-111E-7FC971C6837E}" dt="2020-07-14T23:39:42.111" v="5" actId="20577"/>
        <pc:sldMkLst>
          <pc:docMk/>
          <pc:sldMk cId="3417640896" sldId="660"/>
        </pc:sldMkLst>
        <pc:spChg chg="mod">
          <ac:chgData name="" userId="" providerId="" clId="Web-{82138BE2-38C9-D456-111E-7FC971C6837E}" dt="2020-07-14T23:39:42.111" v="5" actId="20577"/>
          <ac:spMkLst>
            <pc:docMk/>
            <pc:sldMk cId="3417640896" sldId="660"/>
            <ac:spMk id="3" creationId="{D2AC686F-77B0-4B98-9400-AE95D8E98FF4}"/>
          </ac:spMkLst>
        </pc:spChg>
      </pc:sldChg>
    </pc:docChg>
  </pc:docChgLst>
  <pc:docChgLst>
    <pc:chgData clId="Web-{CD77E012-E9B1-70E1-CE64-F11E9CF828EF}"/>
    <pc:docChg chg="">
      <pc:chgData name="" userId="" providerId="" clId="Web-{CD77E012-E9B1-70E1-CE64-F11E9CF828EF}" dt="2020-07-28T23:23:52.161" v="1"/>
      <pc:docMkLst>
        <pc:docMk/>
      </pc:docMkLst>
      <pc:sldChg chg="addCm">
        <pc:chgData name="" userId="" providerId="" clId="Web-{CD77E012-E9B1-70E1-CE64-F11E9CF828EF}" dt="2020-07-28T23:23:52.161" v="1"/>
        <pc:sldMkLst>
          <pc:docMk/>
          <pc:sldMk cId="1155418492" sldId="1026"/>
        </pc:sldMkLst>
      </pc:sldChg>
    </pc:docChg>
  </pc:docChgLst>
  <pc:docChgLst>
    <pc:chgData name="Yijun Ma" userId="6b140692-16f7-4f54-a783-028f16aab7b0" providerId="ADAL" clId="{58647C5D-FD0C-4C1F-AFC0-3A231D837986}"/>
    <pc:docChg chg="undo custSel modSld">
      <pc:chgData name="Yijun Ma" userId="6b140692-16f7-4f54-a783-028f16aab7b0" providerId="ADAL" clId="{58647C5D-FD0C-4C1F-AFC0-3A231D837986}" dt="2020-08-03T17:59:03.540" v="130" actId="20577"/>
      <pc:docMkLst>
        <pc:docMk/>
      </pc:docMkLst>
      <pc:sldChg chg="addSp delSp modSp modNotesTx">
        <pc:chgData name="Yijun Ma" userId="6b140692-16f7-4f54-a783-028f16aab7b0" providerId="ADAL" clId="{58647C5D-FD0C-4C1F-AFC0-3A231D837986}" dt="2020-08-03T17:30:43.228" v="60" actId="1076"/>
        <pc:sldMkLst>
          <pc:docMk/>
          <pc:sldMk cId="2415737977" sldId="1063"/>
        </pc:sldMkLst>
        <pc:spChg chg="del mod">
          <ac:chgData name="Yijun Ma" userId="6b140692-16f7-4f54-a783-028f16aab7b0" providerId="ADAL" clId="{58647C5D-FD0C-4C1F-AFC0-3A231D837986}" dt="2020-08-03T17:25:29.150" v="46" actId="478"/>
          <ac:spMkLst>
            <pc:docMk/>
            <pc:sldMk cId="2415737977" sldId="1063"/>
            <ac:spMk id="10" creationId="{8818FEB9-40E1-4F1D-831B-8B3CBE928588}"/>
          </ac:spMkLst>
        </pc:spChg>
        <pc:spChg chg="mod">
          <ac:chgData name="Yijun Ma" userId="6b140692-16f7-4f54-a783-028f16aab7b0" providerId="ADAL" clId="{58647C5D-FD0C-4C1F-AFC0-3A231D837986}" dt="2020-08-03T17:25:32.773" v="47" actId="14100"/>
          <ac:spMkLst>
            <pc:docMk/>
            <pc:sldMk cId="2415737977" sldId="1063"/>
            <ac:spMk id="20" creationId="{F5A93634-EFB0-4F1D-8EB9-1AD5FF7384D9}"/>
          </ac:spMkLst>
        </pc:spChg>
        <pc:picChg chg="add del mod">
          <ac:chgData name="Yijun Ma" userId="6b140692-16f7-4f54-a783-028f16aab7b0" providerId="ADAL" clId="{58647C5D-FD0C-4C1F-AFC0-3A231D837986}" dt="2020-08-03T17:20:42.975" v="4" actId="478"/>
          <ac:picMkLst>
            <pc:docMk/>
            <pc:sldMk cId="2415737977" sldId="1063"/>
            <ac:picMk id="3" creationId="{07740EE8-0E40-4FB8-AF0C-11318D203ADF}"/>
          </ac:picMkLst>
        </pc:picChg>
        <pc:picChg chg="add del mod">
          <ac:chgData name="Yijun Ma" userId="6b140692-16f7-4f54-a783-028f16aab7b0" providerId="ADAL" clId="{58647C5D-FD0C-4C1F-AFC0-3A231D837986}" dt="2020-08-03T17:20:50.564" v="7" actId="478"/>
          <ac:picMkLst>
            <pc:docMk/>
            <pc:sldMk cId="2415737977" sldId="1063"/>
            <ac:picMk id="5" creationId="{9CD71D63-488F-4ED3-BD4E-DD96B46F66F8}"/>
          </ac:picMkLst>
        </pc:picChg>
        <pc:picChg chg="add mod ord">
          <ac:chgData name="Yijun Ma" userId="6b140692-16f7-4f54-a783-028f16aab7b0" providerId="ADAL" clId="{58647C5D-FD0C-4C1F-AFC0-3A231D837986}" dt="2020-08-03T17:21:56.442" v="24" actId="1076"/>
          <ac:picMkLst>
            <pc:docMk/>
            <pc:sldMk cId="2415737977" sldId="1063"/>
            <ac:picMk id="6" creationId="{B768E831-0127-483A-AF3C-36E4E2576D34}"/>
          </ac:picMkLst>
        </pc:picChg>
        <pc:picChg chg="add mod ord modCrop">
          <ac:chgData name="Yijun Ma" userId="6b140692-16f7-4f54-a783-028f16aab7b0" providerId="ADAL" clId="{58647C5D-FD0C-4C1F-AFC0-3A231D837986}" dt="2020-08-03T17:30:40.510" v="59" actId="1076"/>
          <ac:picMkLst>
            <pc:docMk/>
            <pc:sldMk cId="2415737977" sldId="1063"/>
            <ac:picMk id="8" creationId="{1064E9A7-35D4-4FD8-A7CC-5BBA10E1490E}"/>
          </ac:picMkLst>
        </pc:picChg>
        <pc:picChg chg="del">
          <ac:chgData name="Yijun Ma" userId="6b140692-16f7-4f54-a783-028f16aab7b0" providerId="ADAL" clId="{58647C5D-FD0C-4C1F-AFC0-3A231D837986}" dt="2020-08-03T17:25:44.060" v="48" actId="478"/>
          <ac:picMkLst>
            <pc:docMk/>
            <pc:sldMk cId="2415737977" sldId="1063"/>
            <ac:picMk id="9" creationId="{036B5E82-B5F7-4D42-BE55-28C0061F4209}"/>
          </ac:picMkLst>
        </pc:picChg>
        <pc:picChg chg="add mod">
          <ac:chgData name="Yijun Ma" userId="6b140692-16f7-4f54-a783-028f16aab7b0" providerId="ADAL" clId="{58647C5D-FD0C-4C1F-AFC0-3A231D837986}" dt="2020-08-03T17:30:43.228" v="60" actId="1076"/>
          <ac:picMkLst>
            <pc:docMk/>
            <pc:sldMk cId="2415737977" sldId="1063"/>
            <ac:picMk id="11" creationId="{0BA8D398-88BB-446C-ABC4-58F1E96F418B}"/>
          </ac:picMkLst>
        </pc:picChg>
        <pc:picChg chg="add mod">
          <ac:chgData name="Yijun Ma" userId="6b140692-16f7-4f54-a783-028f16aab7b0" providerId="ADAL" clId="{58647C5D-FD0C-4C1F-AFC0-3A231D837986}" dt="2020-08-03T17:26:04.608" v="51" actId="14100"/>
          <ac:picMkLst>
            <pc:docMk/>
            <pc:sldMk cId="2415737977" sldId="1063"/>
            <ac:picMk id="12" creationId="{92065873-0B18-4178-8F49-0ACB4EC90071}"/>
          </ac:picMkLst>
        </pc:picChg>
        <pc:picChg chg="del">
          <ac:chgData name="Yijun Ma" userId="6b140692-16f7-4f54-a783-028f16aab7b0" providerId="ADAL" clId="{58647C5D-FD0C-4C1F-AFC0-3A231D837986}" dt="2020-08-03T17:24:51.252" v="33" actId="478"/>
          <ac:picMkLst>
            <pc:docMk/>
            <pc:sldMk cId="2415737977" sldId="1063"/>
            <ac:picMk id="14" creationId="{D9B398A0-7323-42D7-AA44-467DF1591D8F}"/>
          </ac:picMkLst>
        </pc:picChg>
        <pc:picChg chg="del mod">
          <ac:chgData name="Yijun Ma" userId="6b140692-16f7-4f54-a783-028f16aab7b0" providerId="ADAL" clId="{58647C5D-FD0C-4C1F-AFC0-3A231D837986}" dt="2020-08-03T17:24:29.468" v="30" actId="478"/>
          <ac:picMkLst>
            <pc:docMk/>
            <pc:sldMk cId="2415737977" sldId="1063"/>
            <ac:picMk id="15" creationId="{306E76E2-4D68-4337-BAE0-9846F114AC89}"/>
          </ac:picMkLst>
        </pc:picChg>
        <pc:picChg chg="add del">
          <ac:chgData name="Yijun Ma" userId="6b140692-16f7-4f54-a783-028f16aab7b0" providerId="ADAL" clId="{58647C5D-FD0C-4C1F-AFC0-3A231D837986}" dt="2020-08-03T17:21:43.557" v="22" actId="478"/>
          <ac:picMkLst>
            <pc:docMk/>
            <pc:sldMk cId="2415737977" sldId="1063"/>
            <ac:picMk id="16" creationId="{FCADD0E3-69A0-42DD-8BE3-EB28B65DAD4E}"/>
          </ac:picMkLst>
        </pc:picChg>
      </pc:sldChg>
      <pc:sldChg chg="addSp delSp modSp modNotesTx">
        <pc:chgData name="Yijun Ma" userId="6b140692-16f7-4f54-a783-028f16aab7b0" providerId="ADAL" clId="{58647C5D-FD0C-4C1F-AFC0-3A231D837986}" dt="2020-08-03T17:41:48.589" v="105" actId="20577"/>
        <pc:sldMkLst>
          <pc:docMk/>
          <pc:sldMk cId="3338364421" sldId="1128"/>
        </pc:sldMkLst>
        <pc:spChg chg="mod">
          <ac:chgData name="Yijun Ma" userId="6b140692-16f7-4f54-a783-028f16aab7b0" providerId="ADAL" clId="{58647C5D-FD0C-4C1F-AFC0-3A231D837986}" dt="2020-08-03T17:40:32.265" v="93" actId="1076"/>
          <ac:spMkLst>
            <pc:docMk/>
            <pc:sldMk cId="3338364421" sldId="1128"/>
            <ac:spMk id="8" creationId="{34CCD13F-ECFC-4789-86D6-115EF2F75F10}"/>
          </ac:spMkLst>
        </pc:spChg>
        <pc:spChg chg="del mod">
          <ac:chgData name="Yijun Ma" userId="6b140692-16f7-4f54-a783-028f16aab7b0" providerId="ADAL" clId="{58647C5D-FD0C-4C1F-AFC0-3A231D837986}" dt="2020-08-03T17:39:53.253" v="85" actId="478"/>
          <ac:spMkLst>
            <pc:docMk/>
            <pc:sldMk cId="3338364421" sldId="1128"/>
            <ac:spMk id="12" creationId="{8DF22D6B-290E-4C37-93DE-D5FB973430D7}"/>
          </ac:spMkLst>
        </pc:spChg>
        <pc:spChg chg="mod">
          <ac:chgData name="Yijun Ma" userId="6b140692-16f7-4f54-a783-028f16aab7b0" providerId="ADAL" clId="{58647C5D-FD0C-4C1F-AFC0-3A231D837986}" dt="2020-08-03T17:40:37.362" v="94" actId="1076"/>
          <ac:spMkLst>
            <pc:docMk/>
            <pc:sldMk cId="3338364421" sldId="1128"/>
            <ac:spMk id="16" creationId="{085D41A7-F096-4C0E-B8F3-DD0B86291275}"/>
          </ac:spMkLst>
        </pc:spChg>
        <pc:spChg chg="mod">
          <ac:chgData name="Yijun Ma" userId="6b140692-16f7-4f54-a783-028f16aab7b0" providerId="ADAL" clId="{58647C5D-FD0C-4C1F-AFC0-3A231D837986}" dt="2020-08-03T17:40:10.965" v="90" actId="1076"/>
          <ac:spMkLst>
            <pc:docMk/>
            <pc:sldMk cId="3338364421" sldId="1128"/>
            <ac:spMk id="20" creationId="{F5A93634-EFB0-4F1D-8EB9-1AD5FF7384D9}"/>
          </ac:spMkLst>
        </pc:spChg>
        <pc:picChg chg="add mod ord">
          <ac:chgData name="Yijun Ma" userId="6b140692-16f7-4f54-a783-028f16aab7b0" providerId="ADAL" clId="{58647C5D-FD0C-4C1F-AFC0-3A231D837986}" dt="2020-08-03T17:39:44.839" v="81" actId="1076"/>
          <ac:picMkLst>
            <pc:docMk/>
            <pc:sldMk cId="3338364421" sldId="1128"/>
            <ac:picMk id="3" creationId="{3193F079-8389-41E4-82B5-A5478A30911C}"/>
          </ac:picMkLst>
        </pc:picChg>
        <pc:picChg chg="del mod">
          <ac:chgData name="Yijun Ma" userId="6b140692-16f7-4f54-a783-028f16aab7b0" providerId="ADAL" clId="{58647C5D-FD0C-4C1F-AFC0-3A231D837986}" dt="2020-08-03T17:41:38.984" v="100" actId="478"/>
          <ac:picMkLst>
            <pc:docMk/>
            <pc:sldMk cId="3338364421" sldId="1128"/>
            <ac:picMk id="5" creationId="{A3906CEF-BE70-4025-865E-2E48F0924713}"/>
          </ac:picMkLst>
        </pc:picChg>
        <pc:picChg chg="del">
          <ac:chgData name="Yijun Ma" userId="6b140692-16f7-4f54-a783-028f16aab7b0" providerId="ADAL" clId="{58647C5D-FD0C-4C1F-AFC0-3A231D837986}" dt="2020-08-03T17:36:18.556" v="65" actId="478"/>
          <ac:picMkLst>
            <pc:docMk/>
            <pc:sldMk cId="3338364421" sldId="1128"/>
            <ac:picMk id="6" creationId="{1CCEDF6C-263D-4381-86E7-FFD7A9D193FD}"/>
          </ac:picMkLst>
        </pc:picChg>
        <pc:picChg chg="del mod">
          <ac:chgData name="Yijun Ma" userId="6b140692-16f7-4f54-a783-028f16aab7b0" providerId="ADAL" clId="{58647C5D-FD0C-4C1F-AFC0-3A231D837986}" dt="2020-08-03T17:41:09.469" v="96" actId="478"/>
          <ac:picMkLst>
            <pc:docMk/>
            <pc:sldMk cId="3338364421" sldId="1128"/>
            <ac:picMk id="9" creationId="{6D126717-BAC9-402F-AE7A-0E15454AE1D1}"/>
          </ac:picMkLst>
        </pc:picChg>
        <pc:picChg chg="del">
          <ac:chgData name="Yijun Ma" userId="6b140692-16f7-4f54-a783-028f16aab7b0" providerId="ADAL" clId="{58647C5D-FD0C-4C1F-AFC0-3A231D837986}" dt="2020-08-03T17:39:29.301" v="79" actId="478"/>
          <ac:picMkLst>
            <pc:docMk/>
            <pc:sldMk cId="3338364421" sldId="1128"/>
            <ac:picMk id="10" creationId="{02E329E2-D061-4AE7-9F66-D4C6241B9068}"/>
          </ac:picMkLst>
        </pc:picChg>
        <pc:picChg chg="add mod ord">
          <ac:chgData name="Yijun Ma" userId="6b140692-16f7-4f54-a783-028f16aab7b0" providerId="ADAL" clId="{58647C5D-FD0C-4C1F-AFC0-3A231D837986}" dt="2020-08-03T17:39:50.496" v="83" actId="167"/>
          <ac:picMkLst>
            <pc:docMk/>
            <pc:sldMk cId="3338364421" sldId="1128"/>
            <ac:picMk id="11" creationId="{65B64175-FBED-4BE1-AA2B-D7D962D7E47D}"/>
          </ac:picMkLst>
        </pc:picChg>
        <pc:picChg chg="add mod">
          <ac:chgData name="Yijun Ma" userId="6b140692-16f7-4f54-a783-028f16aab7b0" providerId="ADAL" clId="{58647C5D-FD0C-4C1F-AFC0-3A231D837986}" dt="2020-08-03T17:41:14.736" v="98" actId="14100"/>
          <ac:picMkLst>
            <pc:docMk/>
            <pc:sldMk cId="3338364421" sldId="1128"/>
            <ac:picMk id="13" creationId="{464CD594-D00A-43D1-8E66-094F4EBB3A9F}"/>
          </ac:picMkLst>
        </pc:picChg>
        <pc:picChg chg="add mod">
          <ac:chgData name="Yijun Ma" userId="6b140692-16f7-4f54-a783-028f16aab7b0" providerId="ADAL" clId="{58647C5D-FD0C-4C1F-AFC0-3A231D837986}" dt="2020-08-03T17:41:43.843" v="102" actId="14100"/>
          <ac:picMkLst>
            <pc:docMk/>
            <pc:sldMk cId="3338364421" sldId="1128"/>
            <ac:picMk id="14" creationId="{3F3CC948-BDCC-4A26-8CC3-2E784E5CABD3}"/>
          </ac:picMkLst>
        </pc:picChg>
      </pc:sldChg>
    </pc:docChg>
  </pc:docChgLst>
  <pc:docChgLst>
    <pc:chgData clId="Web-{C5259DF0-5A27-2AFF-62A2-BEA86BA5F8D5}"/>
    <pc:docChg chg="modSld">
      <pc:chgData name="" userId="" providerId="" clId="Web-{C5259DF0-5A27-2AFF-62A2-BEA86BA5F8D5}" dt="2020-07-27T18:07:32.947" v="17" actId="14100"/>
      <pc:docMkLst>
        <pc:docMk/>
      </pc:docMkLst>
      <pc:sldChg chg="addSp delSp modSp">
        <pc:chgData name="" userId="" providerId="" clId="Web-{C5259DF0-5A27-2AFF-62A2-BEA86BA5F8D5}" dt="2020-07-27T18:07:32.947" v="17" actId="14100"/>
        <pc:sldMkLst>
          <pc:docMk/>
          <pc:sldMk cId="3338364421" sldId="1128"/>
        </pc:sldMkLst>
        <pc:spChg chg="mod">
          <ac:chgData name="" userId="" providerId="" clId="Web-{C5259DF0-5A27-2AFF-62A2-BEA86BA5F8D5}" dt="2020-07-27T18:06:39.381" v="8" actId="1076"/>
          <ac:spMkLst>
            <pc:docMk/>
            <pc:sldMk cId="3338364421" sldId="1128"/>
            <ac:spMk id="16" creationId="{085D41A7-F096-4C0E-B8F3-DD0B86291275}"/>
          </ac:spMkLst>
        </pc:spChg>
        <pc:picChg chg="add mod ord">
          <ac:chgData name="" userId="" providerId="" clId="Web-{C5259DF0-5A27-2AFF-62A2-BEA86BA5F8D5}" dt="2020-07-27T18:06:30.256" v="7"/>
          <ac:picMkLst>
            <pc:docMk/>
            <pc:sldMk cId="3338364421" sldId="1128"/>
            <ac:picMk id="10" creationId="{02E329E2-D061-4AE7-9F66-D4C6241B9068}"/>
          </ac:picMkLst>
        </pc:picChg>
        <pc:picChg chg="add mod">
          <ac:chgData name="" userId="" providerId="" clId="Web-{C5259DF0-5A27-2AFF-62A2-BEA86BA5F8D5}" dt="2020-07-27T18:07:06.164" v="14" actId="14100"/>
          <ac:picMkLst>
            <pc:docMk/>
            <pc:sldMk cId="3338364421" sldId="1128"/>
            <ac:picMk id="11" creationId="{814F77D8-63E0-408D-822F-D007DE3FF618}"/>
          </ac:picMkLst>
        </pc:picChg>
        <pc:picChg chg="add mod">
          <ac:chgData name="" userId="" providerId="" clId="Web-{C5259DF0-5A27-2AFF-62A2-BEA86BA5F8D5}" dt="2020-07-27T18:07:32.947" v="17" actId="14100"/>
          <ac:picMkLst>
            <pc:docMk/>
            <pc:sldMk cId="3338364421" sldId="1128"/>
            <ac:picMk id="12" creationId="{D6E8FEBF-8CBC-4C51-8E5F-5294DA3A8A81}"/>
          </ac:picMkLst>
        </pc:picChg>
        <pc:picChg chg="del">
          <ac:chgData name="" userId="" providerId="" clId="Web-{C5259DF0-5A27-2AFF-62A2-BEA86BA5F8D5}" dt="2020-07-27T18:06:25.646" v="5"/>
          <ac:picMkLst>
            <pc:docMk/>
            <pc:sldMk cId="3338364421" sldId="1128"/>
            <ac:picMk id="14" creationId="{EFB0D935-F9F2-4898-8939-C70C8045FF6B}"/>
          </ac:picMkLst>
        </pc:picChg>
        <pc:picChg chg="del mod">
          <ac:chgData name="" userId="" providerId="" clId="Web-{C5259DF0-5A27-2AFF-62A2-BEA86BA5F8D5}" dt="2020-07-27T18:06:42.397" v="10"/>
          <ac:picMkLst>
            <pc:docMk/>
            <pc:sldMk cId="3338364421" sldId="1128"/>
            <ac:picMk id="15" creationId="{C88544C2-5CDD-4CC3-B072-42E18223686E}"/>
          </ac:picMkLst>
        </pc:picChg>
        <pc:picChg chg="del">
          <ac:chgData name="" userId="" providerId="" clId="Web-{C5259DF0-5A27-2AFF-62A2-BEA86BA5F8D5}" dt="2020-07-27T18:06:43.429" v="11"/>
          <ac:picMkLst>
            <pc:docMk/>
            <pc:sldMk cId="3338364421" sldId="1128"/>
            <ac:picMk id="17" creationId="{70815818-8F07-4978-B207-9507630D13C5}"/>
          </ac:picMkLst>
        </pc:picChg>
      </pc:sldChg>
    </pc:docChg>
  </pc:docChgLst>
  <pc:docChgLst>
    <pc:chgData clId="Web-{B9E22C20-F785-DE89-08FC-F323B4C3D299}"/>
    <pc:docChg chg="modSld">
      <pc:chgData name="" userId="" providerId="" clId="Web-{B9E22C20-F785-DE89-08FC-F323B4C3D299}" dt="2020-07-21T21:07:35.646" v="24" actId="20577"/>
      <pc:docMkLst>
        <pc:docMk/>
      </pc:docMkLst>
    </pc:docChg>
  </pc:docChgLst>
  <pc:docChgLst>
    <pc:chgData clId="Web-{D98FEDD7-F8CC-9E56-B3E2-F2010E7304B4}"/>
    <pc:docChg chg="modSld">
      <pc:chgData name="" userId="" providerId="" clId="Web-{D98FEDD7-F8CC-9E56-B3E2-F2010E7304B4}" dt="2020-07-14T22:20:29.905" v="13"/>
      <pc:docMkLst>
        <pc:docMk/>
      </pc:docMkLst>
      <pc:sldChg chg="modSp addCm">
        <pc:chgData name="" userId="" providerId="" clId="Web-{D98FEDD7-F8CC-9E56-B3E2-F2010E7304B4}" dt="2020-07-14T22:16:05.441" v="12"/>
        <pc:sldMkLst>
          <pc:docMk/>
          <pc:sldMk cId="1519931681" sldId="923"/>
        </pc:sldMkLst>
        <pc:spChg chg="mod">
          <ac:chgData name="" userId="" providerId="" clId="Web-{D98FEDD7-F8CC-9E56-B3E2-F2010E7304B4}" dt="2020-07-14T22:14:25.015" v="11" actId="1076"/>
          <ac:spMkLst>
            <pc:docMk/>
            <pc:sldMk cId="1519931681" sldId="923"/>
            <ac:spMk id="25" creationId="{13B87C1F-74FA-7648-A5E7-2CB01BB275C1}"/>
          </ac:spMkLst>
        </pc:spChg>
      </pc:sldChg>
      <pc:sldChg chg="addCm">
        <pc:chgData name="" userId="" providerId="" clId="Web-{D98FEDD7-F8CC-9E56-B3E2-F2010E7304B4}" dt="2020-07-14T21:56:10.126" v="7"/>
        <pc:sldMkLst>
          <pc:docMk/>
          <pc:sldMk cId="1905173972" sldId="1021"/>
        </pc:sldMkLst>
      </pc:sldChg>
      <pc:sldChg chg="addCm">
        <pc:chgData name="" userId="" providerId="" clId="Web-{D98FEDD7-F8CC-9E56-B3E2-F2010E7304B4}" dt="2020-07-14T21:46:13.211" v="1"/>
        <pc:sldMkLst>
          <pc:docMk/>
          <pc:sldMk cId="1049441131" sldId="1040"/>
        </pc:sldMkLst>
      </pc:sldChg>
      <pc:sldChg chg="addCm">
        <pc:chgData name="" userId="" providerId="" clId="Web-{D98FEDD7-F8CC-9E56-B3E2-F2010E7304B4}" dt="2020-07-14T21:47:34.574" v="3"/>
        <pc:sldMkLst>
          <pc:docMk/>
          <pc:sldMk cId="2535481493" sldId="1116"/>
        </pc:sldMkLst>
      </pc:sldChg>
    </pc:docChg>
  </pc:docChgLst>
  <pc:docChgLst>
    <pc:chgData name="Fangnan Du (DCP)" userId="50de7b9d-879b-4fbd-a8e5-64ec99cdf932" providerId="ADAL" clId="{42F057AA-8E0D-489A-AB37-3E147664B2B0}"/>
    <pc:docChg chg="undo custSel addSld modSld sldOrd">
      <pc:chgData name="Fangnan Du (DCP)" userId="50de7b9d-879b-4fbd-a8e5-64ec99cdf932" providerId="ADAL" clId="{42F057AA-8E0D-489A-AB37-3E147664B2B0}" dt="2020-07-07T21:23:11.962" v="477"/>
      <pc:docMkLst>
        <pc:docMk/>
      </pc:docMkLst>
      <pc:sldChg chg="addSp delSp modSp mod setBg">
        <pc:chgData name="Fangnan Du (DCP)" userId="50de7b9d-879b-4fbd-a8e5-64ec99cdf932" providerId="ADAL" clId="{42F057AA-8E0D-489A-AB37-3E147664B2B0}" dt="2020-07-07T21:23:11.962" v="477"/>
        <pc:sldMkLst>
          <pc:docMk/>
          <pc:sldMk cId="1905173972" sldId="1021"/>
        </pc:sldMkLst>
        <pc:spChg chg="del mod">
          <ac:chgData name="Fangnan Du (DCP)" userId="50de7b9d-879b-4fbd-a8e5-64ec99cdf932" providerId="ADAL" clId="{42F057AA-8E0D-489A-AB37-3E147664B2B0}" dt="2020-07-07T21:21:25.371" v="466" actId="478"/>
          <ac:spMkLst>
            <pc:docMk/>
            <pc:sldMk cId="1905173972" sldId="1021"/>
            <ac:spMk id="11" creationId="{DA2AEE1D-2186-4A70-89B8-DBDB82CD9FE5}"/>
          </ac:spMkLst>
        </pc:spChg>
        <pc:graphicFrameChg chg="del">
          <ac:chgData name="Fangnan Du (DCP)" userId="50de7b9d-879b-4fbd-a8e5-64ec99cdf932" providerId="ADAL" clId="{42F057AA-8E0D-489A-AB37-3E147664B2B0}" dt="2020-07-07T21:20:21.274" v="445" actId="478"/>
          <ac:graphicFrameMkLst>
            <pc:docMk/>
            <pc:sldMk cId="1905173972" sldId="1021"/>
            <ac:graphicFrameMk id="9" creationId="{56C45EC3-D9A3-47F6-BED9-9244CD30BDA3}"/>
          </ac:graphicFrameMkLst>
        </pc:graphicFrameChg>
        <pc:graphicFrameChg chg="del">
          <ac:chgData name="Fangnan Du (DCP)" userId="50de7b9d-879b-4fbd-a8e5-64ec99cdf932" providerId="ADAL" clId="{42F057AA-8E0D-489A-AB37-3E147664B2B0}" dt="2020-07-07T21:20:22.958" v="446" actId="478"/>
          <ac:graphicFrameMkLst>
            <pc:docMk/>
            <pc:sldMk cId="1905173972" sldId="1021"/>
            <ac:graphicFrameMk id="10" creationId="{B72B1F04-A691-43E7-B98C-E8EEDA4FD6D6}"/>
          </ac:graphicFrameMkLst>
        </pc:graphicFrameChg>
        <pc:graphicFrameChg chg="add mod">
          <ac:chgData name="Fangnan Du (DCP)" userId="50de7b9d-879b-4fbd-a8e5-64ec99cdf932" providerId="ADAL" clId="{42F057AA-8E0D-489A-AB37-3E147664B2B0}" dt="2020-07-07T21:21:21.604" v="465" actId="403"/>
          <ac:graphicFrameMkLst>
            <pc:docMk/>
            <pc:sldMk cId="1905173972" sldId="1021"/>
            <ac:graphicFrameMk id="12" creationId="{E20C45EC-BE3F-467E-BF4C-DA873D893AC3}"/>
          </ac:graphicFrameMkLst>
        </pc:graphicFrameChg>
        <pc:graphicFrameChg chg="add mod">
          <ac:chgData name="Fangnan Du (DCP)" userId="50de7b9d-879b-4fbd-a8e5-64ec99cdf932" providerId="ADAL" clId="{42F057AA-8E0D-489A-AB37-3E147664B2B0}" dt="2020-07-07T21:21:58.170" v="473" actId="1076"/>
          <ac:graphicFrameMkLst>
            <pc:docMk/>
            <pc:sldMk cId="1905173972" sldId="1021"/>
            <ac:graphicFrameMk id="13" creationId="{C3DE53ED-442A-4758-AE52-39553F93F170}"/>
          </ac:graphicFrameMkLst>
        </pc:graphicFrameChg>
      </pc:sldChg>
    </pc:docChg>
  </pc:docChgLst>
  <pc:docChgLst>
    <pc:chgData name="Fangnan Du (DCP)" userId="50de7b9d-879b-4fbd-a8e5-64ec99cdf932" providerId="ADAL" clId="{4311A1E0-0220-4D16-BFA5-7FDC9A51387D}"/>
    <pc:docChg chg="undo custSel addSld delSld modSld">
      <pc:chgData name="Fangnan Du (DCP)" userId="50de7b9d-879b-4fbd-a8e5-64ec99cdf932" providerId="ADAL" clId="{4311A1E0-0220-4D16-BFA5-7FDC9A51387D}" dt="2020-07-28T20:31:29.403" v="2570" actId="1076"/>
      <pc:docMkLst>
        <pc:docMk/>
      </pc:docMkLst>
      <pc:sldChg chg="delSp modSp mod modCm">
        <pc:chgData name="Fangnan Du (DCP)" userId="50de7b9d-879b-4fbd-a8e5-64ec99cdf932" providerId="ADAL" clId="{4311A1E0-0220-4D16-BFA5-7FDC9A51387D}" dt="2020-07-28T20:27:04.255" v="2544" actId="27918"/>
        <pc:sldMkLst>
          <pc:docMk/>
          <pc:sldMk cId="1905173972" sldId="1021"/>
        </pc:sldMkLst>
        <pc:spChg chg="del mod">
          <ac:chgData name="Fangnan Du (DCP)" userId="50de7b9d-879b-4fbd-a8e5-64ec99cdf932" providerId="ADAL" clId="{4311A1E0-0220-4D16-BFA5-7FDC9A51387D}" dt="2020-07-27T19:43:04.424" v="94" actId="478"/>
          <ac:spMkLst>
            <pc:docMk/>
            <pc:sldMk cId="1905173972" sldId="1021"/>
            <ac:spMk id="10" creationId="{CFBA8DFB-846F-4DB4-B37A-C0D921D86EA1}"/>
          </ac:spMkLst>
        </pc:spChg>
        <pc:graphicFrameChg chg="mod">
          <ac:chgData name="Fangnan Du (DCP)" userId="50de7b9d-879b-4fbd-a8e5-64ec99cdf932" providerId="ADAL" clId="{4311A1E0-0220-4D16-BFA5-7FDC9A51387D}" dt="2020-07-27T15:26:48.037" v="11" actId="14100"/>
          <ac:graphicFrameMkLst>
            <pc:docMk/>
            <pc:sldMk cId="1905173972" sldId="1021"/>
            <ac:graphicFrameMk id="9" creationId="{E20C45EC-BE3F-467E-BF4C-DA873D893AC3}"/>
          </ac:graphicFrameMkLst>
        </pc:graphicFrameChg>
        <pc:graphicFrameChg chg="mod">
          <ac:chgData name="Fangnan Du (DCP)" userId="50de7b9d-879b-4fbd-a8e5-64ec99cdf932" providerId="ADAL" clId="{4311A1E0-0220-4D16-BFA5-7FDC9A51387D}" dt="2020-07-27T15:27:07.650" v="16" actId="1076"/>
          <ac:graphicFrameMkLst>
            <pc:docMk/>
            <pc:sldMk cId="1905173972" sldId="1021"/>
            <ac:graphicFrameMk id="13" creationId="{C3DE53ED-442A-4758-AE52-39553F93F170}"/>
          </ac:graphicFrameMkLst>
        </pc:graphicFrameChg>
        <pc:graphicFrameChg chg="mod">
          <ac:chgData name="Fangnan Du (DCP)" userId="50de7b9d-879b-4fbd-a8e5-64ec99cdf932" providerId="ADAL" clId="{4311A1E0-0220-4D16-BFA5-7FDC9A51387D}" dt="2020-07-27T19:43:12.358" v="96" actId="14100"/>
          <ac:graphicFrameMkLst>
            <pc:docMk/>
            <pc:sldMk cId="1905173972" sldId="1021"/>
            <ac:graphicFrameMk id="20" creationId="{ABDA0456-7318-47A9-96BE-520D8CD1B3DC}"/>
          </ac:graphicFrameMkLst>
        </pc:graphicFrameChg>
      </pc:sldChg>
    </pc:docChg>
  </pc:docChgLst>
  <pc:docChgLst>
    <pc:chgData clId="Web-{7AA77AF7-20E0-5644-D5FD-02C5C7C140ED}"/>
    <pc:docChg chg="modSld">
      <pc:chgData name="" userId="" providerId="" clId="Web-{7AA77AF7-20E0-5644-D5FD-02C5C7C140ED}" dt="2020-07-21T18:37:44.836" v="22" actId="1076"/>
      <pc:docMkLst>
        <pc:docMk/>
      </pc:docMkLst>
    </pc:docChg>
  </pc:docChgLst>
  <pc:docChgLst>
    <pc:chgData clId="Web-{35C9CA37-1D47-9B1A-0FF7-6129F7DAAEBF}"/>
    <pc:docChg chg="modSld">
      <pc:chgData name="" userId="" providerId="" clId="Web-{35C9CA37-1D47-9B1A-0FF7-6129F7DAAEBF}" dt="2020-07-21T19:26:43.666" v="13" actId="14100"/>
      <pc:docMkLst>
        <pc:docMk/>
      </pc:docMkLst>
    </pc:docChg>
  </pc:docChgLst>
  <pc:docChgLst>
    <pc:chgData clId="Web-{672D9708-0F14-59A1-5CBF-D8F47D08618F}"/>
    <pc:docChg chg="modSld">
      <pc:chgData name="" userId="" providerId="" clId="Web-{672D9708-0F14-59A1-5CBF-D8F47D08618F}" dt="2020-07-28T21:51:14.345" v="210" actId="14100"/>
      <pc:docMkLst>
        <pc:docMk/>
      </pc:docMkLst>
    </pc:docChg>
  </pc:docChgLst>
  <pc:docChgLst>
    <pc:chgData name="Laura Smith (DCP)" userId="04d996ad-c8c0-4279-84c0-115ebcf63bba" providerId="ADAL" clId="{B4E9B1C8-F30B-4530-8D40-7F28C9CC0DBC}"/>
    <pc:docChg chg="undo custSel addSld delSld modSld sldOrd">
      <pc:chgData name="Laura Smith (DCP)" userId="04d996ad-c8c0-4279-84c0-115ebcf63bba" providerId="ADAL" clId="{B4E9B1C8-F30B-4530-8D40-7F28C9CC0DBC}" dt="2020-07-14T23:44:35.280" v="6671" actId="1035"/>
      <pc:docMkLst>
        <pc:docMk/>
      </pc:docMkLst>
      <pc:sldChg chg="addSp delSp modSp">
        <pc:chgData name="Laura Smith (DCP)" userId="04d996ad-c8c0-4279-84c0-115ebcf63bba" providerId="ADAL" clId="{B4E9B1C8-F30B-4530-8D40-7F28C9CC0DBC}" dt="2020-07-14T23:35:06.065" v="6542" actId="20577"/>
        <pc:sldMkLst>
          <pc:docMk/>
          <pc:sldMk cId="3417640896" sldId="660"/>
        </pc:sldMkLst>
        <pc:spChg chg="mod">
          <ac:chgData name="Laura Smith (DCP)" userId="04d996ad-c8c0-4279-84c0-115ebcf63bba" providerId="ADAL" clId="{B4E9B1C8-F30B-4530-8D40-7F28C9CC0DBC}" dt="2020-07-14T23:35:06.065" v="6542" actId="20577"/>
          <ac:spMkLst>
            <pc:docMk/>
            <pc:sldMk cId="3417640896" sldId="660"/>
            <ac:spMk id="3" creationId="{D2AC686F-77B0-4B98-9400-AE95D8E98FF4}"/>
          </ac:spMkLst>
        </pc:spChg>
        <pc:spChg chg="add del mod">
          <ac:chgData name="Laura Smith (DCP)" userId="04d996ad-c8c0-4279-84c0-115ebcf63bba" providerId="ADAL" clId="{B4E9B1C8-F30B-4530-8D40-7F28C9CC0DBC}" dt="2020-07-14T23:27:35.840" v="6191" actId="478"/>
          <ac:spMkLst>
            <pc:docMk/>
            <pc:sldMk cId="3417640896" sldId="660"/>
            <ac:spMk id="5" creationId="{E48627F6-6504-47B3-8563-24CF94AD9593}"/>
          </ac:spMkLst>
        </pc:spChg>
      </pc:sldChg>
      <pc:sldChg chg="addSp delSp modSp">
        <pc:chgData name="Laura Smith (DCP)" userId="04d996ad-c8c0-4279-84c0-115ebcf63bba" providerId="ADAL" clId="{B4E9B1C8-F30B-4530-8D40-7F28C9CC0DBC}" dt="2020-07-14T23:34:54.272" v="6537" actId="478"/>
        <pc:sldMkLst>
          <pc:docMk/>
          <pc:sldMk cId="4030096002" sldId="691"/>
        </pc:sldMkLst>
        <pc:spChg chg="mod">
          <ac:chgData name="Laura Smith (DCP)" userId="04d996ad-c8c0-4279-84c0-115ebcf63bba" providerId="ADAL" clId="{B4E9B1C8-F30B-4530-8D40-7F28C9CC0DBC}" dt="2020-07-14T23:11:31.860" v="5842" actId="20577"/>
          <ac:spMkLst>
            <pc:docMk/>
            <pc:sldMk cId="4030096002" sldId="691"/>
            <ac:spMk id="3" creationId="{D2AC686F-77B0-4B98-9400-AE95D8E98FF4}"/>
          </ac:spMkLst>
        </pc:spChg>
        <pc:spChg chg="add del mod">
          <ac:chgData name="Laura Smith (DCP)" userId="04d996ad-c8c0-4279-84c0-115ebcf63bba" providerId="ADAL" clId="{B4E9B1C8-F30B-4530-8D40-7F28C9CC0DBC}" dt="2020-07-14T23:34:54.272" v="6537" actId="478"/>
          <ac:spMkLst>
            <pc:docMk/>
            <pc:sldMk cId="4030096002" sldId="691"/>
            <ac:spMk id="5" creationId="{23274B74-568E-4A09-A37B-77C314B84C82}"/>
          </ac:spMkLst>
        </pc:spChg>
      </pc:sldChg>
      <pc:sldChg chg="addSp modSp delCm">
        <pc:chgData name="Laura Smith (DCP)" userId="04d996ad-c8c0-4279-84c0-115ebcf63bba" providerId="ADAL" clId="{B4E9B1C8-F30B-4530-8D40-7F28C9CC0DBC}" dt="2020-07-14T22:40:17.683" v="5160" actId="1592"/>
        <pc:sldMkLst>
          <pc:docMk/>
          <pc:sldMk cId="1519931681" sldId="923"/>
        </pc:sldMkLst>
        <pc:spChg chg="mod">
          <ac:chgData name="Laura Smith (DCP)" userId="04d996ad-c8c0-4279-84c0-115ebcf63bba" providerId="ADAL" clId="{B4E9B1C8-F30B-4530-8D40-7F28C9CC0DBC}" dt="2020-07-14T21:50:23.449" v="3859" actId="6549"/>
          <ac:spMkLst>
            <pc:docMk/>
            <pc:sldMk cId="1519931681" sldId="923"/>
            <ac:spMk id="2" creationId="{301847F1-7B7A-3340-B270-47756825AC7C}"/>
          </ac:spMkLst>
        </pc:spChg>
        <pc:spChg chg="add mod">
          <ac:chgData name="Laura Smith (DCP)" userId="04d996ad-c8c0-4279-84c0-115ebcf63bba" providerId="ADAL" clId="{B4E9B1C8-F30B-4530-8D40-7F28C9CC0DBC}" dt="2020-07-13T14:50:13.661" v="801" actId="20577"/>
          <ac:spMkLst>
            <pc:docMk/>
            <pc:sldMk cId="1519931681" sldId="923"/>
            <ac:spMk id="16" creationId="{A6F9C42C-9D47-437A-8B25-9376BAACA2C8}"/>
          </ac:spMkLst>
        </pc:spChg>
        <pc:spChg chg="mod">
          <ac:chgData name="Laura Smith (DCP)" userId="04d996ad-c8c0-4279-84c0-115ebcf63bba" providerId="ADAL" clId="{B4E9B1C8-F30B-4530-8D40-7F28C9CC0DBC}" dt="2020-07-14T22:40:06.232" v="5159" actId="6549"/>
          <ac:spMkLst>
            <pc:docMk/>
            <pc:sldMk cId="1519931681" sldId="923"/>
            <ac:spMk id="25" creationId="{13B87C1F-74FA-7648-A5E7-2CB01BB275C1}"/>
          </ac:spMkLst>
        </pc:spChg>
      </pc:sldChg>
      <pc:sldChg chg="addSp delSp modSp">
        <pc:chgData name="Laura Smith (DCP)" userId="04d996ad-c8c0-4279-84c0-115ebcf63bba" providerId="ADAL" clId="{B4E9B1C8-F30B-4530-8D40-7F28C9CC0DBC}" dt="2020-07-14T23:40:35.317" v="6580" actId="478"/>
        <pc:sldMkLst>
          <pc:docMk/>
          <pc:sldMk cId="3893609620" sldId="945"/>
        </pc:sldMkLst>
        <pc:spChg chg="add del mod">
          <ac:chgData name="Laura Smith (DCP)" userId="04d996ad-c8c0-4279-84c0-115ebcf63bba" providerId="ADAL" clId="{B4E9B1C8-F30B-4530-8D40-7F28C9CC0DBC}" dt="2020-07-14T23:10:18.886" v="5817" actId="478"/>
          <ac:spMkLst>
            <pc:docMk/>
            <pc:sldMk cId="3893609620" sldId="945"/>
            <ac:spMk id="6" creationId="{7149FE0C-7597-4A77-B45B-9B8E1AA76B0A}"/>
          </ac:spMkLst>
        </pc:spChg>
        <pc:spChg chg="mod">
          <ac:chgData name="Laura Smith (DCP)" userId="04d996ad-c8c0-4279-84c0-115ebcf63bba" providerId="ADAL" clId="{B4E9B1C8-F30B-4530-8D40-7F28C9CC0DBC}" dt="2020-07-14T23:14:29.605" v="6053" actId="20577"/>
          <ac:spMkLst>
            <pc:docMk/>
            <pc:sldMk cId="3893609620" sldId="945"/>
            <ac:spMk id="11" creationId="{3D4BD243-6BB9-4167-91CA-D171B4EC2B79}"/>
          </ac:spMkLst>
        </pc:spChg>
        <pc:spChg chg="del">
          <ac:chgData name="Laura Smith (DCP)" userId="04d996ad-c8c0-4279-84c0-115ebcf63bba" providerId="ADAL" clId="{B4E9B1C8-F30B-4530-8D40-7F28C9CC0DBC}" dt="2020-07-14T23:40:35.317" v="6580" actId="478"/>
          <ac:spMkLst>
            <pc:docMk/>
            <pc:sldMk cId="3893609620" sldId="945"/>
            <ac:spMk id="36" creationId="{91785D03-5D68-4D25-862A-E3F2301EBE56}"/>
          </ac:spMkLst>
        </pc:spChg>
      </pc:sldChg>
      <pc:sldChg chg="modSp">
        <pc:chgData name="Laura Smith (DCP)" userId="04d996ad-c8c0-4279-84c0-115ebcf63bba" providerId="ADAL" clId="{B4E9B1C8-F30B-4530-8D40-7F28C9CC0DBC}" dt="2020-07-14T23:11:19.837" v="5833" actId="6549"/>
        <pc:sldMkLst>
          <pc:docMk/>
          <pc:sldMk cId="1282209691" sldId="956"/>
        </pc:sldMkLst>
        <pc:spChg chg="mod">
          <ac:chgData name="Laura Smith (DCP)" userId="04d996ad-c8c0-4279-84c0-115ebcf63bba" providerId="ADAL" clId="{B4E9B1C8-F30B-4530-8D40-7F28C9CC0DBC}" dt="2020-07-14T23:11:19.837" v="5833" actId="6549"/>
          <ac:spMkLst>
            <pc:docMk/>
            <pc:sldMk cId="1282209691" sldId="956"/>
            <ac:spMk id="3" creationId="{A4C01C3F-C0B2-456F-B311-5C15E2D429E6}"/>
          </ac:spMkLst>
        </pc:spChg>
      </pc:sldChg>
      <pc:sldChg chg="addSp modSp delCm">
        <pc:chgData name="Laura Smith (DCP)" userId="04d996ad-c8c0-4279-84c0-115ebcf63bba" providerId="ADAL" clId="{B4E9B1C8-F30B-4530-8D40-7F28C9CC0DBC}" dt="2020-07-14T23:43:05.440" v="6624" actId="20577"/>
        <pc:sldMkLst>
          <pc:docMk/>
          <pc:sldMk cId="1905173972" sldId="1021"/>
        </pc:sldMkLst>
        <pc:spChg chg="add mod">
          <ac:chgData name="Laura Smith (DCP)" userId="04d996ad-c8c0-4279-84c0-115ebcf63bba" providerId="ADAL" clId="{B4E9B1C8-F30B-4530-8D40-7F28C9CC0DBC}" dt="2020-07-13T16:05:39.400" v="1420" actId="1076"/>
          <ac:spMkLst>
            <pc:docMk/>
            <pc:sldMk cId="1905173972" sldId="1021"/>
            <ac:spMk id="4" creationId="{AD623AB9-7FF3-4D8B-969D-F514FC343D1B}"/>
          </ac:spMkLst>
        </pc:spChg>
        <pc:spChg chg="mod">
          <ac:chgData name="Laura Smith (DCP)" userId="04d996ad-c8c0-4279-84c0-115ebcf63bba" providerId="ADAL" clId="{B4E9B1C8-F30B-4530-8D40-7F28C9CC0DBC}" dt="2020-07-14T23:43:05.440" v="6624" actId="20577"/>
          <ac:spMkLst>
            <pc:docMk/>
            <pc:sldMk cId="1905173972" sldId="1021"/>
            <ac:spMk id="6" creationId="{A25A1C29-250D-44E2-A304-C80619528D79}"/>
          </ac:spMkLst>
        </pc:spChg>
        <pc:graphicFrameChg chg="mod">
          <ac:chgData name="Laura Smith (DCP)" userId="04d996ad-c8c0-4279-84c0-115ebcf63bba" providerId="ADAL" clId="{B4E9B1C8-F30B-4530-8D40-7F28C9CC0DBC}" dt="2020-07-14T22:47:58.561" v="5391" actId="1076"/>
          <ac:graphicFrameMkLst>
            <pc:docMk/>
            <pc:sldMk cId="1905173972" sldId="1021"/>
            <ac:graphicFrameMk id="12" creationId="{E20C45EC-BE3F-467E-BF4C-DA873D893AC3}"/>
          </ac:graphicFrameMkLst>
        </pc:graphicFrameChg>
        <pc:graphicFrameChg chg="mod">
          <ac:chgData name="Laura Smith (DCP)" userId="04d996ad-c8c0-4279-84c0-115ebcf63bba" providerId="ADAL" clId="{B4E9B1C8-F30B-4530-8D40-7F28C9CC0DBC}" dt="2020-07-14T22:47:44.743" v="5389" actId="1036"/>
          <ac:graphicFrameMkLst>
            <pc:docMk/>
            <pc:sldMk cId="1905173972" sldId="1021"/>
            <ac:graphicFrameMk id="13" creationId="{C3DE53ED-442A-4758-AE52-39553F93F170}"/>
          </ac:graphicFrameMkLst>
        </pc:graphicFrameChg>
        <pc:graphicFrameChg chg="mod">
          <ac:chgData name="Laura Smith (DCP)" userId="04d996ad-c8c0-4279-84c0-115ebcf63bba" providerId="ADAL" clId="{B4E9B1C8-F30B-4530-8D40-7F28C9CC0DBC}" dt="2020-07-14T22:48:07.918" v="5404" actId="1036"/>
          <ac:graphicFrameMkLst>
            <pc:docMk/>
            <pc:sldMk cId="1905173972" sldId="1021"/>
            <ac:graphicFrameMk id="20" creationId="{ABDA0456-7318-47A9-96BE-520D8CD1B3DC}"/>
          </ac:graphicFrameMkLst>
        </pc:graphicFrameChg>
      </pc:sldChg>
      <pc:sldChg chg="addSp delSp modSp">
        <pc:chgData name="Laura Smith (DCP)" userId="04d996ad-c8c0-4279-84c0-115ebcf63bba" providerId="ADAL" clId="{B4E9B1C8-F30B-4530-8D40-7F28C9CC0DBC}" dt="2020-07-14T23:41:05.794" v="6581" actId="1076"/>
        <pc:sldMkLst>
          <pc:docMk/>
          <pc:sldMk cId="1155418492" sldId="1026"/>
        </pc:sldMkLst>
        <pc:spChg chg="mod">
          <ac:chgData name="Laura Smith (DCP)" userId="04d996ad-c8c0-4279-84c0-115ebcf63bba" providerId="ADAL" clId="{B4E9B1C8-F30B-4530-8D40-7F28C9CC0DBC}" dt="2020-07-14T23:41:05.794" v="6581" actId="1076"/>
          <ac:spMkLst>
            <pc:docMk/>
            <pc:sldMk cId="1155418492" sldId="1026"/>
            <ac:spMk id="6" creationId="{6112D5FE-E18B-6A43-BA78-7662CB7AF3D1}"/>
          </ac:spMkLst>
        </pc:spChg>
        <pc:spChg chg="mod">
          <ac:chgData name="Laura Smith (DCP)" userId="04d996ad-c8c0-4279-84c0-115ebcf63bba" providerId="ADAL" clId="{B4E9B1C8-F30B-4530-8D40-7F28C9CC0DBC}" dt="2020-07-14T22:17:43.290" v="4022" actId="14100"/>
          <ac:spMkLst>
            <pc:docMk/>
            <pc:sldMk cId="1155418492" sldId="1026"/>
            <ac:spMk id="7" creationId="{5DD5AC5F-360F-8042-AE73-AF91185B9B19}"/>
          </ac:spMkLst>
        </pc:spChg>
        <pc:spChg chg="add del mod">
          <ac:chgData name="Laura Smith (DCP)" userId="04d996ad-c8c0-4279-84c0-115ebcf63bba" providerId="ADAL" clId="{B4E9B1C8-F30B-4530-8D40-7F28C9CC0DBC}" dt="2020-07-14T17:09:45.078" v="3464" actId="478"/>
          <ac:spMkLst>
            <pc:docMk/>
            <pc:sldMk cId="1155418492" sldId="1026"/>
            <ac:spMk id="9" creationId="{D3A26E70-50FA-4FF0-AC48-74C0C7414FE5}"/>
          </ac:spMkLst>
        </pc:spChg>
        <pc:graphicFrameChg chg="mod">
          <ac:chgData name="Laura Smith (DCP)" userId="04d996ad-c8c0-4279-84c0-115ebcf63bba" providerId="ADAL" clId="{B4E9B1C8-F30B-4530-8D40-7F28C9CC0DBC}" dt="2020-07-14T22:17:04.516" v="4018" actId="207"/>
          <ac:graphicFrameMkLst>
            <pc:docMk/>
            <pc:sldMk cId="1155418492" sldId="1026"/>
            <ac:graphicFrameMk id="13" creationId="{519EE0ED-7A72-3348-8735-5519A41EDCB8}"/>
          </ac:graphicFrameMkLst>
        </pc:graphicFrameChg>
      </pc:sldChg>
      <pc:sldChg chg="addSp delSp modSp delCm">
        <pc:chgData name="Laura Smith (DCP)" userId="04d996ad-c8c0-4279-84c0-115ebcf63bba" providerId="ADAL" clId="{B4E9B1C8-F30B-4530-8D40-7F28C9CC0DBC}" dt="2020-07-14T23:41:25.186" v="6591" actId="1036"/>
        <pc:sldMkLst>
          <pc:docMk/>
          <pc:sldMk cId="1049441131" sldId="1040"/>
        </pc:sldMkLst>
        <pc:spChg chg="mod">
          <ac:chgData name="Laura Smith (DCP)" userId="04d996ad-c8c0-4279-84c0-115ebcf63bba" providerId="ADAL" clId="{B4E9B1C8-F30B-4530-8D40-7F28C9CC0DBC}" dt="2020-07-14T21:47:11.362" v="3837" actId="20577"/>
          <ac:spMkLst>
            <pc:docMk/>
            <pc:sldMk cId="1049441131" sldId="1040"/>
            <ac:spMk id="8" creationId="{B4306CB6-AC48-1546-B565-FD067D80C14C}"/>
          </ac:spMkLst>
        </pc:spChg>
        <pc:spChg chg="add del mod">
          <ac:chgData name="Laura Smith (DCP)" userId="04d996ad-c8c0-4279-84c0-115ebcf63bba" providerId="ADAL" clId="{B4E9B1C8-F30B-4530-8D40-7F28C9CC0DBC}" dt="2020-07-14T21:47:16.649" v="3838" actId="478"/>
          <ac:spMkLst>
            <pc:docMk/>
            <pc:sldMk cId="1049441131" sldId="1040"/>
            <ac:spMk id="11" creationId="{63B64B1E-6F43-420D-B735-B7CDFF2B1A61}"/>
          </ac:spMkLst>
        </pc:spChg>
        <pc:spChg chg="mod">
          <ac:chgData name="Laura Smith (DCP)" userId="04d996ad-c8c0-4279-84c0-115ebcf63bba" providerId="ADAL" clId="{B4E9B1C8-F30B-4530-8D40-7F28C9CC0DBC}" dt="2020-07-14T23:41:25.186" v="6591" actId="1036"/>
          <ac:spMkLst>
            <pc:docMk/>
            <pc:sldMk cId="1049441131" sldId="1040"/>
            <ac:spMk id="14" creationId="{437F0068-2F47-8346-A239-A480DB4C0B54}"/>
          </ac:spMkLst>
        </pc:spChg>
        <pc:graphicFrameChg chg="mod">
          <ac:chgData name="Laura Smith (DCP)" userId="04d996ad-c8c0-4279-84c0-115ebcf63bba" providerId="ADAL" clId="{B4E9B1C8-F30B-4530-8D40-7F28C9CC0DBC}" dt="2020-07-14T23:41:21.627" v="6586" actId="1036"/>
          <ac:graphicFrameMkLst>
            <pc:docMk/>
            <pc:sldMk cId="1049441131" sldId="1040"/>
            <ac:graphicFrameMk id="12" creationId="{CFFA1B36-5CB1-D24F-9F81-D8B570EAAA25}"/>
          </ac:graphicFrameMkLst>
        </pc:graphicFrameChg>
        <pc:graphicFrameChg chg="mod">
          <ac:chgData name="Laura Smith (DCP)" userId="04d996ad-c8c0-4279-84c0-115ebcf63bba" providerId="ADAL" clId="{B4E9B1C8-F30B-4530-8D40-7F28C9CC0DBC}" dt="2020-07-14T22:17:17.517" v="4020" actId="207"/>
          <ac:graphicFrameMkLst>
            <pc:docMk/>
            <pc:sldMk cId="1049441131" sldId="1040"/>
            <ac:graphicFrameMk id="13" creationId="{C74309F3-BD2E-054F-AD89-8707F08964FA}"/>
          </ac:graphicFrameMkLst>
        </pc:graphicFrameChg>
      </pc:sldChg>
      <pc:sldChg chg="addSp modSp">
        <pc:chgData name="Laura Smith (DCP)" userId="04d996ad-c8c0-4279-84c0-115ebcf63bba" providerId="ADAL" clId="{B4E9B1C8-F30B-4530-8D40-7F28C9CC0DBC}" dt="2020-07-14T17:42:18.068" v="3720" actId="20577"/>
        <pc:sldMkLst>
          <pc:docMk/>
          <pc:sldMk cId="828195153" sldId="1043"/>
        </pc:sldMkLst>
        <pc:spChg chg="mod">
          <ac:chgData name="Laura Smith (DCP)" userId="04d996ad-c8c0-4279-84c0-115ebcf63bba" providerId="ADAL" clId="{B4E9B1C8-F30B-4530-8D40-7F28C9CC0DBC}" dt="2020-07-14T17:42:18.068" v="3720" actId="20577"/>
          <ac:spMkLst>
            <pc:docMk/>
            <pc:sldMk cId="828195153" sldId="1043"/>
            <ac:spMk id="6" creationId="{566F1000-6C7A-E84A-BA94-F0F06058814B}"/>
          </ac:spMkLst>
        </pc:spChg>
        <pc:spChg chg="add mod">
          <ac:chgData name="Laura Smith (DCP)" userId="04d996ad-c8c0-4279-84c0-115ebcf63bba" providerId="ADAL" clId="{B4E9B1C8-F30B-4530-8D40-7F28C9CC0DBC}" dt="2020-07-13T14:53:07.799" v="1238" actId="20577"/>
          <ac:spMkLst>
            <pc:docMk/>
            <pc:sldMk cId="828195153" sldId="1043"/>
            <ac:spMk id="14" creationId="{85702CA9-FB4C-4941-948B-07467D1DB7CB}"/>
          </ac:spMkLst>
        </pc:spChg>
      </pc:sldChg>
      <pc:sldChg chg="addSp delSp modSp add mod">
        <pc:chgData name="Laura Smith (DCP)" userId="04d996ad-c8c0-4279-84c0-115ebcf63bba" providerId="ADAL" clId="{B4E9B1C8-F30B-4530-8D40-7F28C9CC0DBC}" dt="2020-07-14T23:28:19.169" v="6235" actId="20577"/>
        <pc:sldMkLst>
          <pc:docMk/>
          <pc:sldMk cId="520716004" sldId="1058"/>
        </pc:sldMkLst>
        <pc:spChg chg="mod">
          <ac:chgData name="Laura Smith (DCP)" userId="04d996ad-c8c0-4279-84c0-115ebcf63bba" providerId="ADAL" clId="{B4E9B1C8-F30B-4530-8D40-7F28C9CC0DBC}" dt="2020-07-14T23:28:19.169" v="6235" actId="20577"/>
          <ac:spMkLst>
            <pc:docMk/>
            <pc:sldMk cId="520716004" sldId="1058"/>
            <ac:spMk id="9" creationId="{BF15CC37-17A3-48B8-8AF4-369FA726998B}"/>
          </ac:spMkLst>
        </pc:spChg>
        <pc:graphicFrameChg chg="add mod">
          <ac:chgData name="Laura Smith (DCP)" userId="04d996ad-c8c0-4279-84c0-115ebcf63bba" providerId="ADAL" clId="{B4E9B1C8-F30B-4530-8D40-7F28C9CC0DBC}" dt="2020-07-14T23:26:11.496" v="6188" actId="6549"/>
          <ac:graphicFrameMkLst>
            <pc:docMk/>
            <pc:sldMk cId="520716004" sldId="1058"/>
            <ac:graphicFrameMk id="11" creationId="{007FCDB3-3E5C-4CAC-8175-E0E0E25D587B}"/>
          </ac:graphicFrameMkLst>
        </pc:graphicFrameChg>
        <pc:graphicFrameChg chg="del">
          <ac:chgData name="Laura Smith (DCP)" userId="04d996ad-c8c0-4279-84c0-115ebcf63bba" providerId="ADAL" clId="{B4E9B1C8-F30B-4530-8D40-7F28C9CC0DBC}" dt="2020-07-14T23:23:34.567" v="6079" actId="478"/>
          <ac:graphicFrameMkLst>
            <pc:docMk/>
            <pc:sldMk cId="520716004" sldId="1058"/>
            <ac:graphicFrameMk id="13" creationId="{99A6A53C-1610-4893-845E-622ED646E7EB}"/>
          </ac:graphicFrameMkLst>
        </pc:graphicFrameChg>
      </pc:sldChg>
      <pc:sldChg chg="addSp modSp">
        <pc:chgData name="Laura Smith (DCP)" userId="04d996ad-c8c0-4279-84c0-115ebcf63bba" providerId="ADAL" clId="{B4E9B1C8-F30B-4530-8D40-7F28C9CC0DBC}" dt="2020-07-14T17:23:03.315" v="3675" actId="20577"/>
        <pc:sldMkLst>
          <pc:docMk/>
          <pc:sldMk cId="2415737977" sldId="1063"/>
        </pc:sldMkLst>
        <pc:spChg chg="add mod">
          <ac:chgData name="Laura Smith (DCP)" userId="04d996ad-c8c0-4279-84c0-115ebcf63bba" providerId="ADAL" clId="{B4E9B1C8-F30B-4530-8D40-7F28C9CC0DBC}" dt="2020-07-13T14:46:42.423" v="312" actId="20577"/>
          <ac:spMkLst>
            <pc:docMk/>
            <pc:sldMk cId="2415737977" sldId="1063"/>
            <ac:spMk id="14" creationId="{A9C5FD1A-DC2B-420E-9F56-72CD499CBC5E}"/>
          </ac:spMkLst>
        </pc:spChg>
        <pc:spChg chg="mod">
          <ac:chgData name="Laura Smith (DCP)" userId="04d996ad-c8c0-4279-84c0-115ebcf63bba" providerId="ADAL" clId="{B4E9B1C8-F30B-4530-8D40-7F28C9CC0DBC}" dt="2020-07-14T17:23:03.315" v="3675" actId="20577"/>
          <ac:spMkLst>
            <pc:docMk/>
            <pc:sldMk cId="2415737977" sldId="1063"/>
            <ac:spMk id="20" creationId="{F5A93634-EFB0-4F1D-8EB9-1AD5FF7384D9}"/>
          </ac:spMkLst>
        </pc:spChg>
      </pc:sldChg>
      <pc:sldChg chg="addSp delSp modSp">
        <pc:chgData name="Laura Smith (DCP)" userId="04d996ad-c8c0-4279-84c0-115ebcf63bba" providerId="ADAL" clId="{B4E9B1C8-F30B-4530-8D40-7F28C9CC0DBC}" dt="2020-07-14T22:42:32.124" v="5162" actId="14100"/>
        <pc:sldMkLst>
          <pc:docMk/>
          <pc:sldMk cId="2855638099" sldId="1089"/>
        </pc:sldMkLst>
        <pc:spChg chg="mod">
          <ac:chgData name="Laura Smith (DCP)" userId="04d996ad-c8c0-4279-84c0-115ebcf63bba" providerId="ADAL" clId="{B4E9B1C8-F30B-4530-8D40-7F28C9CC0DBC}" dt="2020-07-14T17:40:38.436" v="3717" actId="20577"/>
          <ac:spMkLst>
            <pc:docMk/>
            <pc:sldMk cId="2855638099" sldId="1089"/>
            <ac:spMk id="8" creationId="{B4306CB6-AC48-1546-B565-FD067D80C14C}"/>
          </ac:spMkLst>
        </pc:spChg>
        <pc:spChg chg="add del mod">
          <ac:chgData name="Laura Smith (DCP)" userId="04d996ad-c8c0-4279-84c0-115ebcf63bba" providerId="ADAL" clId="{B4E9B1C8-F30B-4530-8D40-7F28C9CC0DBC}" dt="2020-07-14T17:40:46.789" v="3718" actId="478"/>
          <ac:spMkLst>
            <pc:docMk/>
            <pc:sldMk cId="2855638099" sldId="1089"/>
            <ac:spMk id="11" creationId="{C38C2445-920F-495A-917D-969FA0B85024}"/>
          </ac:spMkLst>
        </pc:spChg>
        <pc:spChg chg="mod">
          <ac:chgData name="Laura Smith (DCP)" userId="04d996ad-c8c0-4279-84c0-115ebcf63bba" providerId="ADAL" clId="{B4E9B1C8-F30B-4530-8D40-7F28C9CC0DBC}" dt="2020-07-14T22:42:32.124" v="5162" actId="14100"/>
          <ac:spMkLst>
            <pc:docMk/>
            <pc:sldMk cId="2855638099" sldId="1089"/>
            <ac:spMk id="14" creationId="{437F0068-2F47-8346-A239-A480DB4C0B54}"/>
          </ac:spMkLst>
        </pc:spChg>
        <pc:graphicFrameChg chg="mod">
          <ac:chgData name="Laura Smith (DCP)" userId="04d996ad-c8c0-4279-84c0-115ebcf63bba" providerId="ADAL" clId="{B4E9B1C8-F30B-4530-8D40-7F28C9CC0DBC}" dt="2020-07-14T22:42:25.314" v="5161" actId="167"/>
          <ac:graphicFrameMkLst>
            <pc:docMk/>
            <pc:sldMk cId="2855638099" sldId="1089"/>
            <ac:graphicFrameMk id="15" creationId="{FDFB51FB-6C34-BA4D-966D-38B3F4DE955A}"/>
          </ac:graphicFrameMkLst>
        </pc:graphicFrameChg>
      </pc:sldChg>
      <pc:sldChg chg="modSp delCm">
        <pc:chgData name="Laura Smith (DCP)" userId="04d996ad-c8c0-4279-84c0-115ebcf63bba" providerId="ADAL" clId="{B4E9B1C8-F30B-4530-8D40-7F28C9CC0DBC}" dt="2020-07-14T22:23:28.649" v="4105" actId="1076"/>
        <pc:sldMkLst>
          <pc:docMk/>
          <pc:sldMk cId="2535481493" sldId="1116"/>
        </pc:sldMkLst>
        <pc:spChg chg="mod">
          <ac:chgData name="Laura Smith (DCP)" userId="04d996ad-c8c0-4279-84c0-115ebcf63bba" providerId="ADAL" clId="{B4E9B1C8-F30B-4530-8D40-7F28C9CC0DBC}" dt="2020-07-14T22:23:28.649" v="4105" actId="1076"/>
          <ac:spMkLst>
            <pc:docMk/>
            <pc:sldMk cId="2535481493" sldId="1116"/>
            <ac:spMk id="8" creationId="{B4306CB6-AC48-1546-B565-FD067D80C14C}"/>
          </ac:spMkLst>
        </pc:spChg>
        <pc:graphicFrameChg chg="mod">
          <ac:chgData name="Laura Smith (DCP)" userId="04d996ad-c8c0-4279-84c0-115ebcf63bba" providerId="ADAL" clId="{B4E9B1C8-F30B-4530-8D40-7F28C9CC0DBC}" dt="2020-07-14T22:20:07.238" v="4029" actId="403"/>
          <ac:graphicFrameMkLst>
            <pc:docMk/>
            <pc:sldMk cId="2535481493" sldId="1116"/>
            <ac:graphicFrameMk id="10" creationId="{7CA9D784-8A66-BF44-A6EA-3D4DAC7EF62A}"/>
          </ac:graphicFrameMkLst>
        </pc:graphicFrameChg>
      </pc:sldChg>
    </pc:docChg>
  </pc:docChgLst>
  <pc:docChgLst>
    <pc:chgData clId="Web-{4DA4B68E-EC05-F1A1-A482-B283DEF6BDD3}"/>
    <pc:docChg chg="modSld">
      <pc:chgData name="" userId="" providerId="" clId="Web-{4DA4B68E-EC05-F1A1-A482-B283DEF6BDD3}" dt="2020-07-21T19:16:45.663" v="3" actId="1076"/>
      <pc:docMkLst>
        <pc:docMk/>
      </pc:docMkLst>
    </pc:docChg>
  </pc:docChgLst>
  <pc:docChgLst>
    <pc:chgData clId="Web-{FA7AED92-6CF8-3DE7-8600-C6D3292CB0C8}"/>
    <pc:docChg chg="modSld">
      <pc:chgData name="" userId="" providerId="" clId="Web-{FA7AED92-6CF8-3DE7-8600-C6D3292CB0C8}" dt="2020-07-29T00:15:00.350" v="4" actId="20577"/>
      <pc:docMkLst>
        <pc:docMk/>
      </pc:docMkLst>
      <pc:sldChg chg="modSp">
        <pc:chgData name="" userId="" providerId="" clId="Web-{FA7AED92-6CF8-3DE7-8600-C6D3292CB0C8}" dt="2020-07-29T00:14:59.334" v="2" actId="20577"/>
        <pc:sldMkLst>
          <pc:docMk/>
          <pc:sldMk cId="3893609620" sldId="945"/>
        </pc:sldMkLst>
        <pc:spChg chg="mod">
          <ac:chgData name="" userId="" providerId="" clId="Web-{FA7AED92-6CF8-3DE7-8600-C6D3292CB0C8}" dt="2020-07-29T00:14:59.334" v="2" actId="20577"/>
          <ac:spMkLst>
            <pc:docMk/>
            <pc:sldMk cId="3893609620" sldId="945"/>
            <ac:spMk id="24" creationId="{85800FDC-7597-4A4B-99BA-C987E4FF4D31}"/>
          </ac:spMkLst>
        </pc:spChg>
      </pc:sldChg>
    </pc:docChg>
  </pc:docChgLst>
  <pc:docChgLst>
    <pc:chgData name="Le Zhang (DCP)" userId="4093b8df-c45f-452e-86ba-4cdd8d4ea262" providerId="ADAL" clId="{83F99AAF-FBF4-4BEC-9F6A-614456346144}"/>
    <pc:docChg chg="undo custSel modSld modMainMaster">
      <pc:chgData name="Le Zhang (DCP)" userId="4093b8df-c45f-452e-86ba-4cdd8d4ea262" providerId="ADAL" clId="{83F99AAF-FBF4-4BEC-9F6A-614456346144}" dt="2020-08-11T17:34:03.259" v="565" actId="20577"/>
      <pc:docMkLst>
        <pc:docMk/>
      </pc:docMkLst>
      <pc:sldChg chg="modSp">
        <pc:chgData name="Le Zhang (DCP)" userId="4093b8df-c45f-452e-86ba-4cdd8d4ea262" providerId="ADAL" clId="{83F99AAF-FBF4-4BEC-9F6A-614456346144}" dt="2020-08-06T18:36:11.300" v="5" actId="20577"/>
        <pc:sldMkLst>
          <pc:docMk/>
          <pc:sldMk cId="866642221" sldId="604"/>
        </pc:sldMkLst>
        <pc:spChg chg="mod">
          <ac:chgData name="Le Zhang (DCP)" userId="4093b8df-c45f-452e-86ba-4cdd8d4ea262" providerId="ADAL" clId="{83F99AAF-FBF4-4BEC-9F6A-614456346144}" dt="2020-08-06T18:36:11.300" v="5" actId="20577"/>
          <ac:spMkLst>
            <pc:docMk/>
            <pc:sldMk cId="866642221" sldId="604"/>
            <ac:spMk id="4" creationId="{00000000-0000-0000-0000-000000000000}"/>
          </ac:spMkLst>
        </pc:spChg>
      </pc:sldChg>
      <pc:sldChg chg="modSp">
        <pc:chgData name="Le Zhang (DCP)" userId="4093b8df-c45f-452e-86ba-4cdd8d4ea262" providerId="ADAL" clId="{83F99AAF-FBF4-4BEC-9F6A-614456346144}" dt="2020-08-11T17:33:17.533" v="562" actId="1036"/>
        <pc:sldMkLst>
          <pc:docMk/>
          <pc:sldMk cId="1519931681" sldId="923"/>
        </pc:sldMkLst>
        <pc:spChg chg="mod">
          <ac:chgData name="Le Zhang (DCP)" userId="4093b8df-c45f-452e-86ba-4cdd8d4ea262" providerId="ADAL" clId="{83F99AAF-FBF4-4BEC-9F6A-614456346144}" dt="2020-08-11T17:33:17.533" v="562" actId="1036"/>
          <ac:spMkLst>
            <pc:docMk/>
            <pc:sldMk cId="1519931681" sldId="923"/>
            <ac:spMk id="4" creationId="{138D6259-165E-864B-924B-F615A4773A0E}"/>
          </ac:spMkLst>
        </pc:spChg>
      </pc:sldChg>
      <pc:sldChg chg="addSp delSp modSp mod">
        <pc:chgData name="Le Zhang (DCP)" userId="4093b8df-c45f-452e-86ba-4cdd8d4ea262" providerId="ADAL" clId="{83F99AAF-FBF4-4BEC-9F6A-614456346144}" dt="2020-08-11T17:32:34.756" v="547" actId="20577"/>
        <pc:sldMkLst>
          <pc:docMk/>
          <pc:sldMk cId="3893609620" sldId="945"/>
        </pc:sldMkLst>
        <pc:spChg chg="mod">
          <ac:chgData name="Le Zhang (DCP)" userId="4093b8df-c45f-452e-86ba-4cdd8d4ea262" providerId="ADAL" clId="{83F99AAF-FBF4-4BEC-9F6A-614456346144}" dt="2020-08-11T17:32:34.756" v="547" actId="20577"/>
          <ac:spMkLst>
            <pc:docMk/>
            <pc:sldMk cId="3893609620" sldId="945"/>
            <ac:spMk id="18" creationId="{4B400C07-9027-4C73-9C4E-038FC4557A14}"/>
          </ac:spMkLst>
        </pc:spChg>
        <pc:spChg chg="mod">
          <ac:chgData name="Le Zhang (DCP)" userId="4093b8df-c45f-452e-86ba-4cdd8d4ea262" providerId="ADAL" clId="{83F99AAF-FBF4-4BEC-9F6A-614456346144}" dt="2020-08-11T17:06:34.329" v="92" actId="20577"/>
          <ac:spMkLst>
            <pc:docMk/>
            <pc:sldMk cId="3893609620" sldId="945"/>
            <ac:spMk id="30" creationId="{94EFE761-FD16-48E0-933F-AD68746AB657}"/>
          </ac:spMkLst>
        </pc:spChg>
        <pc:spChg chg="mod">
          <ac:chgData name="Le Zhang (DCP)" userId="4093b8df-c45f-452e-86ba-4cdd8d4ea262" providerId="ADAL" clId="{83F99AAF-FBF4-4BEC-9F6A-614456346144}" dt="2020-08-11T17:06:48.806" v="95" actId="20577"/>
          <ac:spMkLst>
            <pc:docMk/>
            <pc:sldMk cId="3893609620" sldId="945"/>
            <ac:spMk id="31" creationId="{0BF07143-E56E-40FA-9849-54DC7832BB78}"/>
          </ac:spMkLst>
        </pc:spChg>
        <pc:spChg chg="mod">
          <ac:chgData name="Le Zhang (DCP)" userId="4093b8df-c45f-452e-86ba-4cdd8d4ea262" providerId="ADAL" clId="{83F99AAF-FBF4-4BEC-9F6A-614456346144}" dt="2020-08-11T17:06:58.572" v="97" actId="20577"/>
          <ac:spMkLst>
            <pc:docMk/>
            <pc:sldMk cId="3893609620" sldId="945"/>
            <ac:spMk id="32" creationId="{4A9D15F8-3390-45AE-BEF1-6CD30E8208A6}"/>
          </ac:spMkLst>
        </pc:spChg>
        <pc:spChg chg="mod">
          <ac:chgData name="Le Zhang (DCP)" userId="4093b8df-c45f-452e-86ba-4cdd8d4ea262" providerId="ADAL" clId="{83F99AAF-FBF4-4BEC-9F6A-614456346144}" dt="2020-08-11T17:07:26.426" v="103" actId="20577"/>
          <ac:spMkLst>
            <pc:docMk/>
            <pc:sldMk cId="3893609620" sldId="945"/>
            <ac:spMk id="33" creationId="{6940218C-8629-4C01-8501-CC380A5F2E2B}"/>
          </ac:spMkLst>
        </pc:spChg>
        <pc:spChg chg="mod">
          <ac:chgData name="Le Zhang (DCP)" userId="4093b8df-c45f-452e-86ba-4cdd8d4ea262" providerId="ADAL" clId="{83F99AAF-FBF4-4BEC-9F6A-614456346144}" dt="2020-08-11T17:07:36.713" v="105" actId="20577"/>
          <ac:spMkLst>
            <pc:docMk/>
            <pc:sldMk cId="3893609620" sldId="945"/>
            <ac:spMk id="34" creationId="{EB37EFAB-7DC3-4863-959A-C09E68B63594}"/>
          </ac:spMkLst>
        </pc:spChg>
        <pc:spChg chg="mod">
          <ac:chgData name="Le Zhang (DCP)" userId="4093b8df-c45f-452e-86ba-4cdd8d4ea262" providerId="ADAL" clId="{83F99AAF-FBF4-4BEC-9F6A-614456346144}" dt="2020-08-11T17:08:50.890" v="114" actId="20577"/>
          <ac:spMkLst>
            <pc:docMk/>
            <pc:sldMk cId="3893609620" sldId="945"/>
            <ac:spMk id="35" creationId="{4C2FC8C1-9DF4-40FB-89A2-1816329ABBD9}"/>
          </ac:spMkLst>
        </pc:spChg>
        <pc:spChg chg="del">
          <ac:chgData name="Le Zhang (DCP)" userId="4093b8df-c45f-452e-86ba-4cdd8d4ea262" providerId="ADAL" clId="{83F99AAF-FBF4-4BEC-9F6A-614456346144}" dt="2020-08-11T17:05:03.946" v="68" actId="478"/>
          <ac:spMkLst>
            <pc:docMk/>
            <pc:sldMk cId="3893609620" sldId="945"/>
            <ac:spMk id="36" creationId="{C76D42A0-A730-4DCD-B272-65034AC06917}"/>
          </ac:spMkLst>
        </pc:spChg>
        <pc:spChg chg="mod">
          <ac:chgData name="Le Zhang (DCP)" userId="4093b8df-c45f-452e-86ba-4cdd8d4ea262" providerId="ADAL" clId="{83F99AAF-FBF4-4BEC-9F6A-614456346144}" dt="2020-08-11T17:07:07.271" v="99" actId="20577"/>
          <ac:spMkLst>
            <pc:docMk/>
            <pc:sldMk cId="3893609620" sldId="945"/>
            <ac:spMk id="42" creationId="{C7F89269-E04A-4CF9-A44A-60A71BB258CE}"/>
          </ac:spMkLst>
        </pc:spChg>
        <pc:spChg chg="mod ord">
          <ac:chgData name="Le Zhang (DCP)" userId="4093b8df-c45f-452e-86ba-4cdd8d4ea262" providerId="ADAL" clId="{83F99AAF-FBF4-4BEC-9F6A-614456346144}" dt="2020-08-11T17:11:24.936" v="129" actId="1035"/>
          <ac:spMkLst>
            <pc:docMk/>
            <pc:sldMk cId="3893609620" sldId="945"/>
            <ac:spMk id="43" creationId="{84C7CD6C-F58F-404C-BD12-06B7ADFBADC4}"/>
          </ac:spMkLst>
        </pc:spChg>
        <pc:spChg chg="mod">
          <ac:chgData name="Le Zhang (DCP)" userId="4093b8df-c45f-452e-86ba-4cdd8d4ea262" providerId="ADAL" clId="{83F99AAF-FBF4-4BEC-9F6A-614456346144}" dt="2020-08-11T17:12:33.426" v="143" actId="20577"/>
          <ac:spMkLst>
            <pc:docMk/>
            <pc:sldMk cId="3893609620" sldId="945"/>
            <ac:spMk id="46" creationId="{D7B7A9D9-72DC-4C15-A101-5CF60024CF42}"/>
          </ac:spMkLst>
        </pc:spChg>
        <pc:spChg chg="mod">
          <ac:chgData name="Le Zhang (DCP)" userId="4093b8df-c45f-452e-86ba-4cdd8d4ea262" providerId="ADAL" clId="{83F99AAF-FBF4-4BEC-9F6A-614456346144}" dt="2020-08-11T17:07:16.999" v="101" actId="20577"/>
          <ac:spMkLst>
            <pc:docMk/>
            <pc:sldMk cId="3893609620" sldId="945"/>
            <ac:spMk id="48" creationId="{F1DD7476-BCD6-4063-840E-32EA2BC5AD01}"/>
          </ac:spMkLst>
        </pc:spChg>
        <pc:grpChg chg="mod">
          <ac:chgData name="Le Zhang (DCP)" userId="4093b8df-c45f-452e-86ba-4cdd8d4ea262" providerId="ADAL" clId="{83F99AAF-FBF4-4BEC-9F6A-614456346144}" dt="2020-08-11T17:12:14.496" v="140" actId="1036"/>
          <ac:grpSpMkLst>
            <pc:docMk/>
            <pc:sldMk cId="3893609620" sldId="945"/>
            <ac:grpSpMk id="14" creationId="{51D7E514-97F9-4E49-8257-3A7C5D002E4B}"/>
          </ac:grpSpMkLst>
        </pc:grpChg>
        <pc:grpChg chg="mod">
          <ac:chgData name="Le Zhang (DCP)" userId="4093b8df-c45f-452e-86ba-4cdd8d4ea262" providerId="ADAL" clId="{83F99AAF-FBF4-4BEC-9F6A-614456346144}" dt="2020-08-11T17:13:45.093" v="162" actId="1037"/>
          <ac:grpSpMkLst>
            <pc:docMk/>
            <pc:sldMk cId="3893609620" sldId="945"/>
            <ac:grpSpMk id="21" creationId="{D731847C-4DBE-4AE5-B7E7-BC7A44AC83FE}"/>
          </ac:grpSpMkLst>
        </pc:grpChg>
        <pc:graphicFrameChg chg="add mod">
          <ac:chgData name="Le Zhang (DCP)" userId="4093b8df-c45f-452e-86ba-4cdd8d4ea262" providerId="ADAL" clId="{83F99AAF-FBF4-4BEC-9F6A-614456346144}" dt="2020-08-11T17:06:00.639" v="89" actId="1038"/>
          <ac:graphicFrameMkLst>
            <pc:docMk/>
            <pc:sldMk cId="3893609620" sldId="945"/>
            <ac:graphicFrameMk id="37" creationId="{85655A2E-7906-453D-B465-6827A45C6D9A}"/>
          </ac:graphicFrameMkLst>
        </pc:graphicFrameChg>
        <pc:graphicFrameChg chg="add del">
          <ac:chgData name="Le Zhang (DCP)" userId="4093b8df-c45f-452e-86ba-4cdd8d4ea262" providerId="ADAL" clId="{83F99AAF-FBF4-4BEC-9F6A-614456346144}" dt="2020-08-11T17:05:15.454" v="71" actId="478"/>
          <ac:graphicFrameMkLst>
            <pc:docMk/>
            <pc:sldMk cId="3893609620" sldId="945"/>
            <ac:graphicFrameMk id="41" creationId="{85655A2E-7906-453D-B465-6827A45C6D9A}"/>
          </ac:graphicFrameMkLst>
        </pc:graphicFrameChg>
        <pc:graphicFrameChg chg="add mod">
          <ac:chgData name="Le Zhang (DCP)" userId="4093b8df-c45f-452e-86ba-4cdd8d4ea262" providerId="ADAL" clId="{83F99AAF-FBF4-4BEC-9F6A-614456346144}" dt="2020-08-11T17:12:46.655" v="144" actId="14838"/>
          <ac:graphicFrameMkLst>
            <pc:docMk/>
            <pc:sldMk cId="3893609620" sldId="945"/>
            <ac:graphicFrameMk id="44" creationId="{B4F2F5F0-8F46-4DD0-86B3-AB401F8FA9F8}"/>
          </ac:graphicFrameMkLst>
        </pc:graphicFrameChg>
        <pc:graphicFrameChg chg="add mod">
          <ac:chgData name="Le Zhang (DCP)" userId="4093b8df-c45f-452e-86ba-4cdd8d4ea262" providerId="ADAL" clId="{83F99AAF-FBF4-4BEC-9F6A-614456346144}" dt="2020-08-11T17:14:19.874" v="167"/>
          <ac:graphicFrameMkLst>
            <pc:docMk/>
            <pc:sldMk cId="3893609620" sldId="945"/>
            <ac:graphicFrameMk id="47" creationId="{7FA9CA48-F2D4-4341-B599-F3016470120C}"/>
          </ac:graphicFrameMkLst>
        </pc:graphicFrameChg>
        <pc:graphicFrameChg chg="del">
          <ac:chgData name="Le Zhang (DCP)" userId="4093b8df-c45f-452e-86ba-4cdd8d4ea262" providerId="ADAL" clId="{83F99AAF-FBF4-4BEC-9F6A-614456346144}" dt="2020-08-11T17:11:35.802" v="130" actId="478"/>
          <ac:graphicFrameMkLst>
            <pc:docMk/>
            <pc:sldMk cId="3893609620" sldId="945"/>
            <ac:graphicFrameMk id="51" creationId="{B4F2F5F0-8F46-4DD0-86B3-AB401F8FA9F8}"/>
          </ac:graphicFrameMkLst>
        </pc:graphicFrameChg>
        <pc:graphicFrameChg chg="del">
          <ac:chgData name="Le Zhang (DCP)" userId="4093b8df-c45f-452e-86ba-4cdd8d4ea262" providerId="ADAL" clId="{83F99AAF-FBF4-4BEC-9F6A-614456346144}" dt="2020-08-11T17:12:58.481" v="145" actId="478"/>
          <ac:graphicFrameMkLst>
            <pc:docMk/>
            <pc:sldMk cId="3893609620" sldId="945"/>
            <ac:graphicFrameMk id="52" creationId="{7FA9CA48-F2D4-4341-B599-F3016470120C}"/>
          </ac:graphicFrameMkLst>
        </pc:graphicFrameChg>
        <pc:cxnChg chg="mod">
          <ac:chgData name="Le Zhang (DCP)" userId="4093b8df-c45f-452e-86ba-4cdd8d4ea262" providerId="ADAL" clId="{83F99AAF-FBF4-4BEC-9F6A-614456346144}" dt="2020-08-11T17:12:25.633" v="141" actId="14100"/>
          <ac:cxnSpMkLst>
            <pc:docMk/>
            <pc:sldMk cId="3893609620" sldId="945"/>
            <ac:cxnSpMk id="45" creationId="{918D82A6-8BFE-49A3-94B9-0BA720F362FE}"/>
          </ac:cxnSpMkLst>
        </pc:cxnChg>
      </pc:sldChg>
      <pc:sldChg chg="modSp">
        <pc:chgData name="Le Zhang (DCP)" userId="4093b8df-c45f-452e-86ba-4cdd8d4ea262" providerId="ADAL" clId="{83F99AAF-FBF4-4BEC-9F6A-614456346144}" dt="2020-08-11T15:55:31.938" v="64" actId="20577"/>
        <pc:sldMkLst>
          <pc:docMk/>
          <pc:sldMk cId="2318289709" sldId="1119"/>
        </pc:sldMkLst>
        <pc:spChg chg="mod">
          <ac:chgData name="Le Zhang (DCP)" userId="4093b8df-c45f-452e-86ba-4cdd8d4ea262" providerId="ADAL" clId="{83F99AAF-FBF4-4BEC-9F6A-614456346144}" dt="2020-08-11T15:55:31.938" v="64" actId="20577"/>
          <ac:spMkLst>
            <pc:docMk/>
            <pc:sldMk cId="2318289709" sldId="1119"/>
            <ac:spMk id="2" creationId="{AFF6A9B6-BBBB-4C91-BB36-53BD5FAB6C0D}"/>
          </ac:spMkLst>
        </pc:spChg>
      </pc:sldChg>
      <pc:sldChg chg="addSp delSp modSp mod">
        <pc:chgData name="Le Zhang (DCP)" userId="4093b8df-c45f-452e-86ba-4cdd8d4ea262" providerId="ADAL" clId="{83F99AAF-FBF4-4BEC-9F6A-614456346144}" dt="2020-08-11T17:34:03.259" v="565" actId="20577"/>
        <pc:sldMkLst>
          <pc:docMk/>
          <pc:sldMk cId="2119415700" sldId="1132"/>
        </pc:sldMkLst>
        <pc:spChg chg="del mod">
          <ac:chgData name="Le Zhang (DCP)" userId="4093b8df-c45f-452e-86ba-4cdd8d4ea262" providerId="ADAL" clId="{83F99AAF-FBF4-4BEC-9F6A-614456346144}" dt="2020-08-11T17:15:48.562" v="356" actId="478"/>
          <ac:spMkLst>
            <pc:docMk/>
            <pc:sldMk cId="2119415700" sldId="1132"/>
            <ac:spMk id="18" creationId="{4B400C07-9027-4C73-9C4E-038FC4557A14}"/>
          </ac:spMkLst>
        </pc:spChg>
        <pc:spChg chg="del">
          <ac:chgData name="Le Zhang (DCP)" userId="4093b8df-c45f-452e-86ba-4cdd8d4ea262" providerId="ADAL" clId="{83F99AAF-FBF4-4BEC-9F6A-614456346144}" dt="2020-08-11T17:15:56.731" v="360" actId="478"/>
          <ac:spMkLst>
            <pc:docMk/>
            <pc:sldMk cId="2119415700" sldId="1132"/>
            <ac:spMk id="19" creationId="{A726FBB1-A6E3-441A-97D3-75F7131722D9}"/>
          </ac:spMkLst>
        </pc:spChg>
        <pc:spChg chg="add mod">
          <ac:chgData name="Le Zhang (DCP)" userId="4093b8df-c45f-452e-86ba-4cdd8d4ea262" providerId="ADAL" clId="{83F99AAF-FBF4-4BEC-9F6A-614456346144}" dt="2020-08-11T17:32:43.970" v="548" actId="6549"/>
          <ac:spMkLst>
            <pc:docMk/>
            <pc:sldMk cId="2119415700" sldId="1132"/>
            <ac:spMk id="20" creationId="{FD5C2D25-B342-4D7B-803D-6FCAACCBE71E}"/>
          </ac:spMkLst>
        </pc:spChg>
        <pc:spChg chg="mod">
          <ac:chgData name="Le Zhang (DCP)" userId="4093b8df-c45f-452e-86ba-4cdd8d4ea262" providerId="ADAL" clId="{83F99AAF-FBF4-4BEC-9F6A-614456346144}" dt="2020-08-11T17:18:04.108" v="436" actId="20577"/>
          <ac:spMkLst>
            <pc:docMk/>
            <pc:sldMk cId="2119415700" sldId="1132"/>
            <ac:spMk id="46" creationId="{D7B7A9D9-72DC-4C15-A101-5CF60024CF42}"/>
          </ac:spMkLst>
        </pc:spChg>
        <pc:grpChg chg="mod">
          <ac:chgData name="Le Zhang (DCP)" userId="4093b8df-c45f-452e-86ba-4cdd8d4ea262" providerId="ADAL" clId="{83F99AAF-FBF4-4BEC-9F6A-614456346144}" dt="2020-08-11T17:17:49.954" v="432" actId="1037"/>
          <ac:grpSpMkLst>
            <pc:docMk/>
            <pc:sldMk cId="2119415700" sldId="1132"/>
            <ac:grpSpMk id="14" creationId="{51D7E514-97F9-4E49-8257-3A7C5D002E4B}"/>
          </ac:grpSpMkLst>
        </pc:grpChg>
        <pc:grpChg chg="mod">
          <ac:chgData name="Le Zhang (DCP)" userId="4093b8df-c45f-452e-86ba-4cdd8d4ea262" providerId="ADAL" clId="{83F99AAF-FBF4-4BEC-9F6A-614456346144}" dt="2020-08-11T17:19:22.396" v="451" actId="14100"/>
          <ac:grpSpMkLst>
            <pc:docMk/>
            <pc:sldMk cId="2119415700" sldId="1132"/>
            <ac:grpSpMk id="21" creationId="{D731847C-4DBE-4AE5-B7E7-BC7A44AC83FE}"/>
          </ac:grpSpMkLst>
        </pc:grpChg>
        <pc:grpChg chg="mod ord">
          <ac:chgData name="Le Zhang (DCP)" userId="4093b8df-c45f-452e-86ba-4cdd8d4ea262" providerId="ADAL" clId="{83F99AAF-FBF4-4BEC-9F6A-614456346144}" dt="2020-08-11T17:16:57.949" v="374" actId="1076"/>
          <ac:grpSpMkLst>
            <pc:docMk/>
            <pc:sldMk cId="2119415700" sldId="1132"/>
            <ac:grpSpMk id="38" creationId="{A148A6BF-0FCB-402E-92DF-B905255AB259}"/>
          </ac:grpSpMkLst>
        </pc:grpChg>
        <pc:graphicFrameChg chg="add mod">
          <ac:chgData name="Le Zhang (DCP)" userId="4093b8df-c45f-452e-86ba-4cdd8d4ea262" providerId="ADAL" clId="{83F99AAF-FBF4-4BEC-9F6A-614456346144}" dt="2020-08-11T17:33:54.151" v="563" actId="20577"/>
          <ac:graphicFrameMkLst>
            <pc:docMk/>
            <pc:sldMk cId="2119415700" sldId="1132"/>
            <ac:graphicFrameMk id="22" creationId="{6EE01F65-C05E-4B55-B047-75584D7D9BC1}"/>
          </ac:graphicFrameMkLst>
        </pc:graphicFrameChg>
        <pc:graphicFrameChg chg="add mod">
          <ac:chgData name="Le Zhang (DCP)" userId="4093b8df-c45f-452e-86ba-4cdd8d4ea262" providerId="ADAL" clId="{83F99AAF-FBF4-4BEC-9F6A-614456346144}" dt="2020-08-11T17:33:56.932" v="564" actId="20577"/>
          <ac:graphicFrameMkLst>
            <pc:docMk/>
            <pc:sldMk cId="2119415700" sldId="1132"/>
            <ac:graphicFrameMk id="25" creationId="{1AC6A982-45A5-4DE9-B6D3-61D0C02BA2A4}"/>
          </ac:graphicFrameMkLst>
        </pc:graphicFrameChg>
        <pc:graphicFrameChg chg="add mod">
          <ac:chgData name="Le Zhang (DCP)" userId="4093b8df-c45f-452e-86ba-4cdd8d4ea262" providerId="ADAL" clId="{83F99AAF-FBF4-4BEC-9F6A-614456346144}" dt="2020-08-11T17:34:03.259" v="565" actId="20577"/>
          <ac:graphicFrameMkLst>
            <pc:docMk/>
            <pc:sldMk cId="2119415700" sldId="1132"/>
            <ac:graphicFrameMk id="26" creationId="{9689F4F4-5529-40D5-B758-6845D3E69E4A}"/>
          </ac:graphicFrameMkLst>
        </pc:graphicFrameChg>
        <pc:graphicFrameChg chg="del">
          <ac:chgData name="Le Zhang (DCP)" userId="4093b8df-c45f-452e-86ba-4cdd8d4ea262" providerId="ADAL" clId="{83F99AAF-FBF4-4BEC-9F6A-614456346144}" dt="2020-08-11T17:16:13.488" v="361" actId="478"/>
          <ac:graphicFrameMkLst>
            <pc:docMk/>
            <pc:sldMk cId="2119415700" sldId="1132"/>
            <ac:graphicFrameMk id="36" creationId="{6EE01F65-C05E-4B55-B047-75584D7D9BC1}"/>
          </ac:graphicFrameMkLst>
        </pc:graphicFrameChg>
        <pc:graphicFrameChg chg="del">
          <ac:chgData name="Le Zhang (DCP)" userId="4093b8df-c45f-452e-86ba-4cdd8d4ea262" providerId="ADAL" clId="{83F99AAF-FBF4-4BEC-9F6A-614456346144}" dt="2020-08-11T17:17:23.722" v="376" actId="478"/>
          <ac:graphicFrameMkLst>
            <pc:docMk/>
            <pc:sldMk cId="2119415700" sldId="1132"/>
            <ac:graphicFrameMk id="37" creationId="{1AC6A982-45A5-4DE9-B6D3-61D0C02BA2A4}"/>
          </ac:graphicFrameMkLst>
        </pc:graphicFrameChg>
        <pc:graphicFrameChg chg="del">
          <ac:chgData name="Le Zhang (DCP)" userId="4093b8df-c45f-452e-86ba-4cdd8d4ea262" providerId="ADAL" clId="{83F99AAF-FBF4-4BEC-9F6A-614456346144}" dt="2020-08-11T17:18:37.049" v="437" actId="478"/>
          <ac:graphicFrameMkLst>
            <pc:docMk/>
            <pc:sldMk cId="2119415700" sldId="1132"/>
            <ac:graphicFrameMk id="41" creationId="{9689F4F4-5529-40D5-B758-6845D3E69E4A}"/>
          </ac:graphicFrameMkLst>
        </pc:graphicFrameChg>
        <pc:cxnChg chg="mod">
          <ac:chgData name="Le Zhang (DCP)" userId="4093b8df-c45f-452e-86ba-4cdd8d4ea262" providerId="ADAL" clId="{83F99AAF-FBF4-4BEC-9F6A-614456346144}" dt="2020-08-11T17:16:52.997" v="372" actId="14100"/>
          <ac:cxnSpMkLst>
            <pc:docMk/>
            <pc:sldMk cId="2119415700" sldId="1132"/>
            <ac:cxnSpMk id="39" creationId="{9EFFE4AE-851E-4579-9EFE-99E2D84194BA}"/>
          </ac:cxnSpMkLst>
        </pc:cxnChg>
      </pc:sldChg>
      <pc:sldChg chg="addSp delSp modSp mod">
        <pc:chgData name="Le Zhang (DCP)" userId="4093b8df-c45f-452e-86ba-4cdd8d4ea262" providerId="ADAL" clId="{83F99AAF-FBF4-4BEC-9F6A-614456346144}" dt="2020-08-11T17:32:58.252" v="558" actId="20577"/>
        <pc:sldMkLst>
          <pc:docMk/>
          <pc:sldMk cId="3089150047" sldId="1133"/>
        </pc:sldMkLst>
        <pc:spChg chg="del">
          <ac:chgData name="Le Zhang (DCP)" userId="4093b8df-c45f-452e-86ba-4cdd8d4ea262" providerId="ADAL" clId="{83F99AAF-FBF4-4BEC-9F6A-614456346144}" dt="2020-08-07T04:08:04.186" v="57" actId="478"/>
          <ac:spMkLst>
            <pc:docMk/>
            <pc:sldMk cId="3089150047" sldId="1133"/>
            <ac:spMk id="18" creationId="{4B400C07-9027-4C73-9C4E-038FC4557A14}"/>
          </ac:spMkLst>
        </pc:spChg>
        <pc:spChg chg="add del">
          <ac:chgData name="Le Zhang (DCP)" userId="4093b8df-c45f-452e-86ba-4cdd8d4ea262" providerId="ADAL" clId="{83F99AAF-FBF4-4BEC-9F6A-614456346144}" dt="2020-08-11T17:15:52.415" v="358" actId="478"/>
          <ac:spMkLst>
            <pc:docMk/>
            <pc:sldMk cId="3089150047" sldId="1133"/>
            <ac:spMk id="19" creationId="{E2D50720-2705-4DF4-B23A-1119C1D49173}"/>
          </ac:spMkLst>
        </pc:spChg>
        <pc:spChg chg="add mod">
          <ac:chgData name="Le Zhang (DCP)" userId="4093b8df-c45f-452e-86ba-4cdd8d4ea262" providerId="ADAL" clId="{83F99AAF-FBF4-4BEC-9F6A-614456346144}" dt="2020-08-11T17:32:58.252" v="558" actId="20577"/>
          <ac:spMkLst>
            <pc:docMk/>
            <pc:sldMk cId="3089150047" sldId="1133"/>
            <ac:spMk id="22" creationId="{A1CC6AEB-EF0F-4825-B209-08941A03E8AF}"/>
          </ac:spMkLst>
        </pc:spChg>
        <pc:spChg chg="mod">
          <ac:chgData name="Le Zhang (DCP)" userId="4093b8df-c45f-452e-86ba-4cdd8d4ea262" providerId="ADAL" clId="{83F99AAF-FBF4-4BEC-9F6A-614456346144}" dt="2020-08-11T17:21:56.514" v="513" actId="20577"/>
          <ac:spMkLst>
            <pc:docMk/>
            <pc:sldMk cId="3089150047" sldId="1133"/>
            <ac:spMk id="46" creationId="{D7B7A9D9-72DC-4C15-A101-5CF60024CF42}"/>
          </ac:spMkLst>
        </pc:spChg>
        <pc:grpChg chg="mod">
          <ac:chgData name="Le Zhang (DCP)" userId="4093b8df-c45f-452e-86ba-4cdd8d4ea262" providerId="ADAL" clId="{83F99AAF-FBF4-4BEC-9F6A-614456346144}" dt="2020-08-11T17:21:43.661" v="510" actId="1035"/>
          <ac:grpSpMkLst>
            <pc:docMk/>
            <pc:sldMk cId="3089150047" sldId="1133"/>
            <ac:grpSpMk id="14" creationId="{51D7E514-97F9-4E49-8257-3A7C5D002E4B}"/>
          </ac:grpSpMkLst>
        </pc:grpChg>
        <pc:grpChg chg="mod">
          <ac:chgData name="Le Zhang (DCP)" userId="4093b8df-c45f-452e-86ba-4cdd8d4ea262" providerId="ADAL" clId="{83F99AAF-FBF4-4BEC-9F6A-614456346144}" dt="2020-08-11T17:32:11.069" v="545" actId="1037"/>
          <ac:grpSpMkLst>
            <pc:docMk/>
            <pc:sldMk cId="3089150047" sldId="1133"/>
            <ac:grpSpMk id="21" creationId="{D731847C-4DBE-4AE5-B7E7-BC7A44AC83FE}"/>
          </ac:grpSpMkLst>
        </pc:grpChg>
        <pc:graphicFrameChg chg="add mod">
          <ac:chgData name="Le Zhang (DCP)" userId="4093b8df-c45f-452e-86ba-4cdd8d4ea262" providerId="ADAL" clId="{83F99AAF-FBF4-4BEC-9F6A-614456346144}" dt="2020-08-11T17:20:43.978" v="476" actId="1037"/>
          <ac:graphicFrameMkLst>
            <pc:docMk/>
            <pc:sldMk cId="3089150047" sldId="1133"/>
            <ac:graphicFrameMk id="25" creationId="{DF86A07E-4B0D-4618-A232-8235387F46E3}"/>
          </ac:graphicFrameMkLst>
        </pc:graphicFrameChg>
        <pc:graphicFrameChg chg="add mod">
          <ac:chgData name="Le Zhang (DCP)" userId="4093b8df-c45f-452e-86ba-4cdd8d4ea262" providerId="ADAL" clId="{83F99AAF-FBF4-4BEC-9F6A-614456346144}" dt="2020-08-11T17:22:11.775" v="515"/>
          <ac:graphicFrameMkLst>
            <pc:docMk/>
            <pc:sldMk cId="3089150047" sldId="1133"/>
            <ac:graphicFrameMk id="26" creationId="{21F47372-52F3-4244-87C9-E8A5641AE3E9}"/>
          </ac:graphicFrameMkLst>
        </pc:graphicFrameChg>
        <pc:graphicFrameChg chg="add mod">
          <ac:chgData name="Le Zhang (DCP)" userId="4093b8df-c45f-452e-86ba-4cdd8d4ea262" providerId="ADAL" clId="{83F99AAF-FBF4-4BEC-9F6A-614456346144}" dt="2020-08-11T17:31:51.266" v="530" actId="14100"/>
          <ac:graphicFrameMkLst>
            <pc:docMk/>
            <pc:sldMk cId="3089150047" sldId="1133"/>
            <ac:graphicFrameMk id="27" creationId="{3714D33F-2051-421C-ADBB-F0193AC3F7AB}"/>
          </ac:graphicFrameMkLst>
        </pc:graphicFrameChg>
        <pc:graphicFrameChg chg="del">
          <ac:chgData name="Le Zhang (DCP)" userId="4093b8df-c45f-452e-86ba-4cdd8d4ea262" providerId="ADAL" clId="{83F99AAF-FBF4-4BEC-9F6A-614456346144}" dt="2020-08-11T17:20:03.045" v="452" actId="478"/>
          <ac:graphicFrameMkLst>
            <pc:docMk/>
            <pc:sldMk cId="3089150047" sldId="1133"/>
            <ac:graphicFrameMk id="36" creationId="{DF86A07E-4B0D-4618-A232-8235387F46E3}"/>
          </ac:graphicFrameMkLst>
        </pc:graphicFrameChg>
        <pc:graphicFrameChg chg="del">
          <ac:chgData name="Le Zhang (DCP)" userId="4093b8df-c45f-452e-86ba-4cdd8d4ea262" providerId="ADAL" clId="{83F99AAF-FBF4-4BEC-9F6A-614456346144}" dt="2020-08-11T17:20:57.148" v="477" actId="478"/>
          <ac:graphicFrameMkLst>
            <pc:docMk/>
            <pc:sldMk cId="3089150047" sldId="1133"/>
            <ac:graphicFrameMk id="37" creationId="{21F47372-52F3-4244-87C9-E8A5641AE3E9}"/>
          </ac:graphicFrameMkLst>
        </pc:graphicFrameChg>
        <pc:graphicFrameChg chg="del">
          <ac:chgData name="Le Zhang (DCP)" userId="4093b8df-c45f-452e-86ba-4cdd8d4ea262" providerId="ADAL" clId="{83F99AAF-FBF4-4BEC-9F6A-614456346144}" dt="2020-08-11T17:22:22.667" v="516" actId="478"/>
          <ac:graphicFrameMkLst>
            <pc:docMk/>
            <pc:sldMk cId="3089150047" sldId="1133"/>
            <ac:graphicFrameMk id="41" creationId="{3714D33F-2051-421C-ADBB-F0193AC3F7AB}"/>
          </ac:graphicFrameMkLst>
        </pc:graphicFrameChg>
      </pc:sldChg>
      <pc:sldMasterChg chg="modSp modSldLayout">
        <pc:chgData name="Le Zhang (DCP)" userId="4093b8df-c45f-452e-86ba-4cdd8d4ea262" providerId="ADAL" clId="{83F99AAF-FBF4-4BEC-9F6A-614456346144}" dt="2020-08-11T15:55:56.857" v="67" actId="14100"/>
        <pc:sldMasterMkLst>
          <pc:docMk/>
          <pc:sldMasterMk cId="0" sldId="2147483660"/>
        </pc:sldMasterMkLst>
        <pc:spChg chg="mod">
          <ac:chgData name="Le Zhang (DCP)" userId="4093b8df-c45f-452e-86ba-4cdd8d4ea262" providerId="ADAL" clId="{83F99AAF-FBF4-4BEC-9F6A-614456346144}" dt="2020-08-11T15:55:56.857" v="67" actId="14100"/>
          <ac:spMkLst>
            <pc:docMk/>
            <pc:sldMasterMk cId="0" sldId="2147483660"/>
            <ac:spMk id="8" creationId="{892C32C2-73D7-45DA-8755-2A0C4259CF1E}"/>
          </ac:spMkLst>
        </pc:spChg>
        <pc:sldLayoutChg chg="delSp">
          <pc:chgData name="Le Zhang (DCP)" userId="4093b8df-c45f-452e-86ba-4cdd8d4ea262" providerId="ADAL" clId="{83F99AAF-FBF4-4BEC-9F6A-614456346144}" dt="2020-08-11T15:55:47.280" v="65" actId="478"/>
          <pc:sldLayoutMkLst>
            <pc:docMk/>
            <pc:sldMasterMk cId="0" sldId="2147483660"/>
            <pc:sldLayoutMk cId="1205630589" sldId="2147483661"/>
          </pc:sldLayoutMkLst>
          <pc:spChg chg="del">
            <ac:chgData name="Le Zhang (DCP)" userId="4093b8df-c45f-452e-86ba-4cdd8d4ea262" providerId="ADAL" clId="{83F99AAF-FBF4-4BEC-9F6A-614456346144}" dt="2020-08-11T15:55:47.280" v="65" actId="478"/>
            <ac:spMkLst>
              <pc:docMk/>
              <pc:sldMasterMk cId="0" sldId="2147483660"/>
              <pc:sldLayoutMk cId="1205630589" sldId="2147483661"/>
              <ac:spMk id="10" creationId="{00000000-0000-0000-0000-000000000000}"/>
            </ac:spMkLst>
          </pc:spChg>
        </pc:sldLayoutChg>
      </pc:sldMasterChg>
    </pc:docChg>
  </pc:docChgLst>
  <pc:docChgLst>
    <pc:chgData name="Stephane Pierre (DCP)" userId="dc8579c3-b9ad-4a00-a438-b4c77f165554" providerId="ADAL" clId="{15F41E07-AEF4-194B-8FF3-423DB34590C2}"/>
    <pc:docChg chg="undo custSel modSld">
      <pc:chgData name="Stephane Pierre (DCP)" userId="dc8579c3-b9ad-4a00-a438-b4c77f165554" providerId="ADAL" clId="{15F41E07-AEF4-194B-8FF3-423DB34590C2}" dt="2020-07-14T23:18:14.605" v="3066" actId="167"/>
      <pc:docMkLst>
        <pc:docMk/>
      </pc:docMkLst>
      <pc:sldChg chg="addSp delSp modSp mod">
        <pc:chgData name="Stephane Pierre (DCP)" userId="dc8579c3-b9ad-4a00-a438-b4c77f165554" providerId="ADAL" clId="{15F41E07-AEF4-194B-8FF3-423DB34590C2}" dt="2020-07-14T23:13:42.871" v="3061" actId="14100"/>
        <pc:sldMkLst>
          <pc:docMk/>
          <pc:sldMk cId="1519931681" sldId="923"/>
        </pc:sldMkLst>
        <pc:spChg chg="mod">
          <ac:chgData name="Stephane Pierre (DCP)" userId="dc8579c3-b9ad-4a00-a438-b4c77f165554" providerId="ADAL" clId="{15F41E07-AEF4-194B-8FF3-423DB34590C2}" dt="2020-07-14T23:04:47.063" v="3041" actId="20577"/>
          <ac:spMkLst>
            <pc:docMk/>
            <pc:sldMk cId="1519931681" sldId="923"/>
            <ac:spMk id="2" creationId="{301847F1-7B7A-3340-B270-47756825AC7C}"/>
          </ac:spMkLst>
        </pc:spChg>
        <pc:spChg chg="mod">
          <ac:chgData name="Stephane Pierre (DCP)" userId="dc8579c3-b9ad-4a00-a438-b4c77f165554" providerId="ADAL" clId="{15F41E07-AEF4-194B-8FF3-423DB34590C2}" dt="2020-07-14T23:03:17.722" v="3033" actId="1076"/>
          <ac:spMkLst>
            <pc:docMk/>
            <pc:sldMk cId="1519931681" sldId="923"/>
            <ac:spMk id="3" creationId="{1EAE4D21-EE8B-B54C-98EF-002EA66A340A}"/>
          </ac:spMkLst>
        </pc:spChg>
        <pc:spChg chg="mod">
          <ac:chgData name="Stephane Pierre (DCP)" userId="dc8579c3-b9ad-4a00-a438-b4c77f165554" providerId="ADAL" clId="{15F41E07-AEF4-194B-8FF3-423DB34590C2}" dt="2020-07-14T22:01:04.527" v="2655" actId="1076"/>
          <ac:spMkLst>
            <pc:docMk/>
            <pc:sldMk cId="1519931681" sldId="923"/>
            <ac:spMk id="4" creationId="{138D6259-165E-864B-924B-F615A4773A0E}"/>
          </ac:spMkLst>
        </pc:spChg>
        <pc:spChg chg="del">
          <ac:chgData name="Stephane Pierre (DCP)" userId="dc8579c3-b9ad-4a00-a438-b4c77f165554" providerId="ADAL" clId="{15F41E07-AEF4-194B-8FF3-423DB34590C2}" dt="2020-07-13T18:43:47.887" v="6" actId="21"/>
          <ac:spMkLst>
            <pc:docMk/>
            <pc:sldMk cId="1519931681" sldId="923"/>
            <ac:spMk id="7" creationId="{D99BA8EF-AD08-FD4C-9AF2-218BC57AFA21}"/>
          </ac:spMkLst>
        </pc:spChg>
        <pc:spChg chg="add del mod">
          <ac:chgData name="Stephane Pierre (DCP)" userId="dc8579c3-b9ad-4a00-a438-b4c77f165554" providerId="ADAL" clId="{15F41E07-AEF4-194B-8FF3-423DB34590C2}" dt="2020-07-14T22:40:45.098" v="2744" actId="767"/>
          <ac:spMkLst>
            <pc:docMk/>
            <pc:sldMk cId="1519931681" sldId="923"/>
            <ac:spMk id="8" creationId="{1A12922F-A45C-8B4D-94BA-F8372C16E58A}"/>
          </ac:spMkLst>
        </pc:spChg>
        <pc:spChg chg="mod">
          <ac:chgData name="Stephane Pierre (DCP)" userId="dc8579c3-b9ad-4a00-a438-b4c77f165554" providerId="ADAL" clId="{15F41E07-AEF4-194B-8FF3-423DB34590C2}" dt="2020-07-14T23:03:17.722" v="3033" actId="1076"/>
          <ac:spMkLst>
            <pc:docMk/>
            <pc:sldMk cId="1519931681" sldId="923"/>
            <ac:spMk id="13" creationId="{174F846C-5F73-894A-A1AF-0A935B8139E2}"/>
          </ac:spMkLst>
        </pc:spChg>
        <pc:spChg chg="mod">
          <ac:chgData name="Stephane Pierre (DCP)" userId="dc8579c3-b9ad-4a00-a438-b4c77f165554" providerId="ADAL" clId="{15F41E07-AEF4-194B-8FF3-423DB34590C2}" dt="2020-07-14T23:03:17.722" v="3033" actId="1076"/>
          <ac:spMkLst>
            <pc:docMk/>
            <pc:sldMk cId="1519931681" sldId="923"/>
            <ac:spMk id="14" creationId="{149DA6FF-5364-1E48-893B-A163FFAF975B}"/>
          </ac:spMkLst>
        </pc:spChg>
        <pc:spChg chg="mod">
          <ac:chgData name="Stephane Pierre (DCP)" userId="dc8579c3-b9ad-4a00-a438-b4c77f165554" providerId="ADAL" clId="{15F41E07-AEF4-194B-8FF3-423DB34590C2}" dt="2020-07-14T23:03:17.722" v="3033" actId="1076"/>
          <ac:spMkLst>
            <pc:docMk/>
            <pc:sldMk cId="1519931681" sldId="923"/>
            <ac:spMk id="15" creationId="{981C1DE0-82FF-AB4F-B94E-89088541BAE7}"/>
          </ac:spMkLst>
        </pc:spChg>
        <pc:spChg chg="del mod">
          <ac:chgData name="Stephane Pierre (DCP)" userId="dc8579c3-b9ad-4a00-a438-b4c77f165554" providerId="ADAL" clId="{15F41E07-AEF4-194B-8FF3-423DB34590C2}" dt="2020-07-14T21:47:59.868" v="2573" actId="478"/>
          <ac:spMkLst>
            <pc:docMk/>
            <pc:sldMk cId="1519931681" sldId="923"/>
            <ac:spMk id="16" creationId="{A6F9C42C-9D47-437A-8B25-9376BAACA2C8}"/>
          </ac:spMkLst>
        </pc:spChg>
        <pc:spChg chg="del">
          <ac:chgData name="Stephane Pierre (DCP)" userId="dc8579c3-b9ad-4a00-a438-b4c77f165554" providerId="ADAL" clId="{15F41E07-AEF4-194B-8FF3-423DB34590C2}" dt="2020-07-13T18:44:02.521" v="12" actId="478"/>
          <ac:spMkLst>
            <pc:docMk/>
            <pc:sldMk cId="1519931681" sldId="923"/>
            <ac:spMk id="17" creationId="{08EE8B61-8D93-1347-8A18-C89BF7685C49}"/>
          </ac:spMkLst>
        </pc:spChg>
        <pc:spChg chg="mod">
          <ac:chgData name="Stephane Pierre (DCP)" userId="dc8579c3-b9ad-4a00-a438-b4c77f165554" providerId="ADAL" clId="{15F41E07-AEF4-194B-8FF3-423DB34590C2}" dt="2020-07-14T23:13:42.871" v="3061" actId="14100"/>
          <ac:spMkLst>
            <pc:docMk/>
            <pc:sldMk cId="1519931681" sldId="923"/>
            <ac:spMk id="25" creationId="{13B87C1F-74FA-7648-A5E7-2CB01BB275C1}"/>
          </ac:spMkLst>
        </pc:spChg>
        <pc:spChg chg="mod">
          <ac:chgData name="Stephane Pierre (DCP)" userId="dc8579c3-b9ad-4a00-a438-b4c77f165554" providerId="ADAL" clId="{15F41E07-AEF4-194B-8FF3-423DB34590C2}" dt="2020-07-14T21:54:12.807" v="2627" actId="1076"/>
          <ac:spMkLst>
            <pc:docMk/>
            <pc:sldMk cId="1519931681" sldId="923"/>
            <ac:spMk id="27" creationId="{F6D6D052-30D1-2C45-A641-D2483BA5FCD9}"/>
          </ac:spMkLst>
        </pc:spChg>
        <pc:graphicFrameChg chg="del mod">
          <ac:chgData name="Stephane Pierre (DCP)" userId="dc8579c3-b9ad-4a00-a438-b4c77f165554" providerId="ADAL" clId="{15F41E07-AEF4-194B-8FF3-423DB34590C2}" dt="2020-07-13T18:50:47.252" v="33" actId="478"/>
          <ac:graphicFrameMkLst>
            <pc:docMk/>
            <pc:sldMk cId="1519931681" sldId="923"/>
            <ac:graphicFrameMk id="18" creationId="{1CC46FE6-FAD9-9342-A3CD-D968E9257405}"/>
          </ac:graphicFrameMkLst>
        </pc:graphicFrameChg>
        <pc:graphicFrameChg chg="del mod">
          <ac:chgData name="Stephane Pierre (DCP)" userId="dc8579c3-b9ad-4a00-a438-b4c77f165554" providerId="ADAL" clId="{15F41E07-AEF4-194B-8FF3-423DB34590C2}" dt="2020-07-13T20:44:48.920" v="245" actId="478"/>
          <ac:graphicFrameMkLst>
            <pc:docMk/>
            <pc:sldMk cId="1519931681" sldId="923"/>
            <ac:graphicFrameMk id="19" creationId="{79C8812E-AE63-AE44-A52A-ACE6F83A1302}"/>
          </ac:graphicFrameMkLst>
        </pc:graphicFrameChg>
        <pc:graphicFrameChg chg="del mod">
          <ac:chgData name="Stephane Pierre (DCP)" userId="dc8579c3-b9ad-4a00-a438-b4c77f165554" providerId="ADAL" clId="{15F41E07-AEF4-194B-8FF3-423DB34590C2}" dt="2020-07-14T21:48:02.892" v="2574" actId="478"/>
          <ac:graphicFrameMkLst>
            <pc:docMk/>
            <pc:sldMk cId="1519931681" sldId="923"/>
            <ac:graphicFrameMk id="20" creationId="{A02ADCAF-7863-324A-9F02-208B1F40E7D2}"/>
          </ac:graphicFrameMkLst>
        </pc:graphicFrameChg>
        <pc:graphicFrameChg chg="add mod">
          <ac:chgData name="Stephane Pierre (DCP)" userId="dc8579c3-b9ad-4a00-a438-b4c77f165554" providerId="ADAL" clId="{15F41E07-AEF4-194B-8FF3-423DB34590C2}" dt="2020-07-14T22:40:27.970" v="2741" actId="1076"/>
          <ac:graphicFrameMkLst>
            <pc:docMk/>
            <pc:sldMk cId="1519931681" sldId="923"/>
            <ac:graphicFrameMk id="21" creationId="{1CC46FE6-FAD9-9342-A3CD-D968E9257405}"/>
          </ac:graphicFrameMkLst>
        </pc:graphicFrameChg>
        <pc:graphicFrameChg chg="add mod">
          <ac:chgData name="Stephane Pierre (DCP)" userId="dc8579c3-b9ad-4a00-a438-b4c77f165554" providerId="ADAL" clId="{15F41E07-AEF4-194B-8FF3-423DB34590C2}" dt="2020-07-14T23:03:17.722" v="3033" actId="1076"/>
          <ac:graphicFrameMkLst>
            <pc:docMk/>
            <pc:sldMk cId="1519931681" sldId="923"/>
            <ac:graphicFrameMk id="22" creationId="{8130AFC4-0C72-4B42-B97B-B3BBD261B280}"/>
          </ac:graphicFrameMkLst>
        </pc:graphicFrameChg>
        <pc:graphicFrameChg chg="add mod">
          <ac:chgData name="Stephane Pierre (DCP)" userId="dc8579c3-b9ad-4a00-a438-b4c77f165554" providerId="ADAL" clId="{15F41E07-AEF4-194B-8FF3-423DB34590C2}" dt="2020-07-14T23:06:54.635" v="3046" actId="1076"/>
          <ac:graphicFrameMkLst>
            <pc:docMk/>
            <pc:sldMk cId="1519931681" sldId="923"/>
            <ac:graphicFrameMk id="24" creationId="{A02ADCAF-7863-324A-9F02-208B1F40E7D2}"/>
          </ac:graphicFrameMkLst>
        </pc:graphicFrameChg>
        <pc:cxnChg chg="add mod">
          <ac:chgData name="Stephane Pierre (DCP)" userId="dc8579c3-b9ad-4a00-a438-b4c77f165554" providerId="ADAL" clId="{15F41E07-AEF4-194B-8FF3-423DB34590C2}" dt="2020-07-14T22:40:27.970" v="2741" actId="1076"/>
          <ac:cxnSpMkLst>
            <pc:docMk/>
            <pc:sldMk cId="1519931681" sldId="923"/>
            <ac:cxnSpMk id="23" creationId="{93C1FFC9-0590-4943-A4AF-B32DC82E237A}"/>
          </ac:cxnSpMkLst>
        </pc:cxnChg>
        <pc:cxnChg chg="del mod">
          <ac:chgData name="Stephane Pierre (DCP)" userId="dc8579c3-b9ad-4a00-a438-b4c77f165554" providerId="ADAL" clId="{15F41E07-AEF4-194B-8FF3-423DB34590C2}" dt="2020-07-13T18:44:00.185" v="11" actId="478"/>
          <ac:cxnSpMkLst>
            <pc:docMk/>
            <pc:sldMk cId="1519931681" sldId="923"/>
            <ac:cxnSpMk id="28" creationId="{F1AA4B5C-939D-1E43-A733-4C2A6CC1EB01}"/>
          </ac:cxnSpMkLst>
        </pc:cxnChg>
      </pc:sldChg>
    </pc:docChg>
  </pc:docChgLst>
  <pc:docChgLst>
    <pc:chgData clId="Web-{48A5DDC8-728A-0FAE-D391-D2BFD7BF8217}"/>
    <pc:docChg chg="modSld">
      <pc:chgData name="" userId="" providerId="" clId="Web-{48A5DDC8-728A-0FAE-D391-D2BFD7BF8217}" dt="2020-07-21T13:26:39.720" v="0" actId="1076"/>
      <pc:docMkLst>
        <pc:docMk/>
      </pc:docMkLst>
      <pc:sldChg chg="modSp">
        <pc:chgData name="" userId="" providerId="" clId="Web-{48A5DDC8-728A-0FAE-D391-D2BFD7BF8217}" dt="2020-07-21T13:26:39.720" v="0" actId="1076"/>
        <pc:sldMkLst>
          <pc:docMk/>
          <pc:sldMk cId="866642221" sldId="604"/>
        </pc:sldMkLst>
        <pc:spChg chg="mod">
          <ac:chgData name="" userId="" providerId="" clId="Web-{48A5DDC8-728A-0FAE-D391-D2BFD7BF8217}" dt="2020-07-21T13:26:39.720" v="0" actId="1076"/>
          <ac:spMkLst>
            <pc:docMk/>
            <pc:sldMk cId="866642221" sldId="604"/>
            <ac:spMk id="2" creationId="{00000000-0000-0000-0000-000000000000}"/>
          </ac:spMkLst>
        </pc:spChg>
      </pc:sldChg>
    </pc:docChg>
  </pc:docChgLst>
  <pc:docChgLst>
    <pc:chgData name="Ruoran Lin (DCP)" userId="5ba63a2c-b5bc-4f17-a87a-a3a824a8af35" providerId="ADAL" clId="{4261CF94-6D38-224F-86A3-F4A7F8B50E32}"/>
    <pc:docChg chg="undo custSel addSld delSld modSld sldOrd">
      <pc:chgData name="Ruoran Lin (DCP)" userId="5ba63a2c-b5bc-4f17-a87a-a3a824a8af35" providerId="ADAL" clId="{4261CF94-6D38-224F-86A3-F4A7F8B50E32}" dt="2020-07-14T21:40:18.996" v="2079" actId="20577"/>
      <pc:docMkLst>
        <pc:docMk/>
      </pc:docMkLst>
      <pc:sldChg chg="addSp delSp modSp mod">
        <pc:chgData name="Ruoran Lin (DCP)" userId="5ba63a2c-b5bc-4f17-a87a-a3a824a8af35" providerId="ADAL" clId="{4261CF94-6D38-224F-86A3-F4A7F8B50E32}" dt="2020-07-13T18:14:23.265" v="303" actId="207"/>
        <pc:sldMkLst>
          <pc:docMk/>
          <pc:sldMk cId="1155418492" sldId="1026"/>
        </pc:sldMkLst>
        <pc:spChg chg="mod">
          <ac:chgData name="Ruoran Lin (DCP)" userId="5ba63a2c-b5bc-4f17-a87a-a3a824a8af35" providerId="ADAL" clId="{4261CF94-6D38-224F-86A3-F4A7F8B50E32}" dt="2020-07-13T18:14:10.517" v="297" actId="20577"/>
          <ac:spMkLst>
            <pc:docMk/>
            <pc:sldMk cId="1155418492" sldId="1026"/>
            <ac:spMk id="6" creationId="{6112D5FE-E18B-6A43-BA78-7662CB7AF3D1}"/>
          </ac:spMkLst>
        </pc:spChg>
        <pc:spChg chg="mod">
          <ac:chgData name="Ruoran Lin (DCP)" userId="5ba63a2c-b5bc-4f17-a87a-a3a824a8af35" providerId="ADAL" clId="{4261CF94-6D38-224F-86A3-F4A7F8B50E32}" dt="2020-07-13T18:10:41.755" v="244" actId="1038"/>
          <ac:spMkLst>
            <pc:docMk/>
            <pc:sldMk cId="1155418492" sldId="1026"/>
            <ac:spMk id="7" creationId="{5DD5AC5F-360F-8042-AE73-AF91185B9B19}"/>
          </ac:spMkLst>
        </pc:spChg>
        <pc:spChg chg="mod">
          <ac:chgData name="Ruoran Lin (DCP)" userId="5ba63a2c-b5bc-4f17-a87a-a3a824a8af35" providerId="ADAL" clId="{4261CF94-6D38-224F-86A3-F4A7F8B50E32}" dt="2020-07-13T18:14:23.265" v="303" actId="207"/>
          <ac:spMkLst>
            <pc:docMk/>
            <pc:sldMk cId="1155418492" sldId="1026"/>
            <ac:spMk id="9" creationId="{D3A26E70-50FA-4FF0-AC48-74C0C7414FE5}"/>
          </ac:spMkLst>
        </pc:spChg>
        <pc:graphicFrameChg chg="add mod">
          <ac:chgData name="Ruoran Lin (DCP)" userId="5ba63a2c-b5bc-4f17-a87a-a3a824a8af35" providerId="ADAL" clId="{4261CF94-6D38-224F-86A3-F4A7F8B50E32}" dt="2020-07-13T18:10:38.898" v="242" actId="1036"/>
          <ac:graphicFrameMkLst>
            <pc:docMk/>
            <pc:sldMk cId="1155418492" sldId="1026"/>
            <ac:graphicFrameMk id="11" creationId="{68EDFA0D-7AE0-AF44-9360-4F25F694E1CE}"/>
          </ac:graphicFrameMkLst>
        </pc:graphicFrameChg>
        <pc:graphicFrameChg chg="del">
          <ac:chgData name="Ruoran Lin (DCP)" userId="5ba63a2c-b5bc-4f17-a87a-a3a824a8af35" providerId="ADAL" clId="{4261CF94-6D38-224F-86A3-F4A7F8B50E32}" dt="2020-07-13T18:09:21.408" v="199" actId="478"/>
          <ac:graphicFrameMkLst>
            <pc:docMk/>
            <pc:sldMk cId="1155418492" sldId="1026"/>
            <ac:graphicFrameMk id="12" creationId="{68EDFA0D-7AE0-AF44-9360-4F25F694E1CE}"/>
          </ac:graphicFrameMkLst>
        </pc:graphicFrameChg>
        <pc:graphicFrameChg chg="add mod">
          <ac:chgData name="Ruoran Lin (DCP)" userId="5ba63a2c-b5bc-4f17-a87a-a3a824a8af35" providerId="ADAL" clId="{4261CF94-6D38-224F-86A3-F4A7F8B50E32}" dt="2020-07-13T18:12:00.287" v="259" actId="1582"/>
          <ac:graphicFrameMkLst>
            <pc:docMk/>
            <pc:sldMk cId="1155418492" sldId="1026"/>
            <ac:graphicFrameMk id="13" creationId="{519EE0ED-7A72-3348-8735-5519A41EDCB8}"/>
          </ac:graphicFrameMkLst>
        </pc:graphicFrameChg>
        <pc:graphicFrameChg chg="del">
          <ac:chgData name="Ruoran Lin (DCP)" userId="5ba63a2c-b5bc-4f17-a87a-a3a824a8af35" providerId="ADAL" clId="{4261CF94-6D38-224F-86A3-F4A7F8B50E32}" dt="2020-07-13T18:10:44.686" v="245" actId="478"/>
          <ac:graphicFrameMkLst>
            <pc:docMk/>
            <pc:sldMk cId="1155418492" sldId="1026"/>
            <ac:graphicFrameMk id="15" creationId="{519EE0ED-7A72-3348-8735-5519A41EDCB8}"/>
          </ac:graphicFrameMkLst>
        </pc:graphicFrameChg>
      </pc:sldChg>
      <pc:sldChg chg="addSp delSp modSp mod">
        <pc:chgData name="Ruoran Lin (DCP)" userId="5ba63a2c-b5bc-4f17-a87a-a3a824a8af35" providerId="ADAL" clId="{4261CF94-6D38-224F-86A3-F4A7F8B50E32}" dt="2020-07-14T20:59:07.700" v="723" actId="14100"/>
        <pc:sldMkLst>
          <pc:docMk/>
          <pc:sldMk cId="1049441131" sldId="1040"/>
        </pc:sldMkLst>
        <pc:spChg chg="mod">
          <ac:chgData name="Ruoran Lin (DCP)" userId="5ba63a2c-b5bc-4f17-a87a-a3a824a8af35" providerId="ADAL" clId="{4261CF94-6D38-224F-86A3-F4A7F8B50E32}" dt="2020-07-13T18:27:09.670" v="465" actId="20577"/>
          <ac:spMkLst>
            <pc:docMk/>
            <pc:sldMk cId="1049441131" sldId="1040"/>
            <ac:spMk id="8" creationId="{B4306CB6-AC48-1546-B565-FD067D80C14C}"/>
          </ac:spMkLst>
        </pc:spChg>
        <pc:spChg chg="mod">
          <ac:chgData name="Ruoran Lin (DCP)" userId="5ba63a2c-b5bc-4f17-a87a-a3a824a8af35" providerId="ADAL" clId="{4261CF94-6D38-224F-86A3-F4A7F8B50E32}" dt="2020-07-14T20:59:07.700" v="723" actId="14100"/>
          <ac:spMkLst>
            <pc:docMk/>
            <pc:sldMk cId="1049441131" sldId="1040"/>
            <ac:spMk id="11" creationId="{63B64B1E-6F43-420D-B735-B7CDFF2B1A61}"/>
          </ac:spMkLst>
        </pc:spChg>
        <pc:spChg chg="mod">
          <ac:chgData name="Ruoran Lin (DCP)" userId="5ba63a2c-b5bc-4f17-a87a-a3a824a8af35" providerId="ADAL" clId="{4261CF94-6D38-224F-86A3-F4A7F8B50E32}" dt="2020-07-13T18:24:26.192" v="359" actId="1037"/>
          <ac:spMkLst>
            <pc:docMk/>
            <pc:sldMk cId="1049441131" sldId="1040"/>
            <ac:spMk id="14" creationId="{437F0068-2F47-8346-A239-A480DB4C0B54}"/>
          </ac:spMkLst>
        </pc:spChg>
        <pc:graphicFrameChg chg="add del">
          <ac:chgData name="Ruoran Lin (DCP)" userId="5ba63a2c-b5bc-4f17-a87a-a3a824a8af35" providerId="ADAL" clId="{4261CF94-6D38-224F-86A3-F4A7F8B50E32}" dt="2020-07-14T20:57:55.941" v="674"/>
          <ac:graphicFrameMkLst>
            <pc:docMk/>
            <pc:sldMk cId="1049441131" sldId="1040"/>
            <ac:graphicFrameMk id="3" creationId="{7708FEAD-5471-6940-B25F-35A1C5E56567}"/>
          </ac:graphicFrameMkLst>
        </pc:graphicFrameChg>
        <pc:graphicFrameChg chg="add del">
          <ac:chgData name="Ruoran Lin (DCP)" userId="5ba63a2c-b5bc-4f17-a87a-a3a824a8af35" providerId="ADAL" clId="{4261CF94-6D38-224F-86A3-F4A7F8B50E32}" dt="2020-07-14T20:57:54.924" v="673"/>
          <ac:graphicFrameMkLst>
            <pc:docMk/>
            <pc:sldMk cId="1049441131" sldId="1040"/>
            <ac:graphicFrameMk id="6" creationId="{E81809DB-6836-CA4C-B8A1-9C15D7C94AC1}"/>
          </ac:graphicFrameMkLst>
        </pc:graphicFrameChg>
        <pc:graphicFrameChg chg="add del">
          <ac:chgData name="Ruoran Lin (DCP)" userId="5ba63a2c-b5bc-4f17-a87a-a3a824a8af35" providerId="ADAL" clId="{4261CF94-6D38-224F-86A3-F4A7F8B50E32}" dt="2020-07-14T20:58:09.378" v="676"/>
          <ac:graphicFrameMkLst>
            <pc:docMk/>
            <pc:sldMk cId="1049441131" sldId="1040"/>
            <ac:graphicFrameMk id="7" creationId="{53671972-5E64-6D40-A503-1A134A311FE4}"/>
          </ac:graphicFrameMkLst>
        </pc:graphicFrameChg>
        <pc:graphicFrameChg chg="del">
          <ac:chgData name="Ruoran Lin (DCP)" userId="5ba63a2c-b5bc-4f17-a87a-a3a824a8af35" providerId="ADAL" clId="{4261CF94-6D38-224F-86A3-F4A7F8B50E32}" dt="2020-07-13T18:23:44.271" v="340" actId="478"/>
          <ac:graphicFrameMkLst>
            <pc:docMk/>
            <pc:sldMk cId="1049441131" sldId="1040"/>
            <ac:graphicFrameMk id="9" creationId="{CFFA1B36-5CB1-D24F-9F81-D8B570EAAA25}"/>
          </ac:graphicFrameMkLst>
        </pc:graphicFrameChg>
        <pc:graphicFrameChg chg="add del">
          <ac:chgData name="Ruoran Lin (DCP)" userId="5ba63a2c-b5bc-4f17-a87a-a3a824a8af35" providerId="ADAL" clId="{4261CF94-6D38-224F-86A3-F4A7F8B50E32}" dt="2020-07-14T20:58:26.405" v="690"/>
          <ac:graphicFrameMkLst>
            <pc:docMk/>
            <pc:sldMk cId="1049441131" sldId="1040"/>
            <ac:graphicFrameMk id="9" creationId="{D2A9F7E1-EF8E-C042-AE01-C90FB059069A}"/>
          </ac:graphicFrameMkLst>
        </pc:graphicFrameChg>
        <pc:graphicFrameChg chg="add del">
          <ac:chgData name="Ruoran Lin (DCP)" userId="5ba63a2c-b5bc-4f17-a87a-a3a824a8af35" providerId="ADAL" clId="{4261CF94-6D38-224F-86A3-F4A7F8B50E32}" dt="2020-07-14T20:58:46.691" v="705"/>
          <ac:graphicFrameMkLst>
            <pc:docMk/>
            <pc:sldMk cId="1049441131" sldId="1040"/>
            <ac:graphicFrameMk id="10" creationId="{B0F02B18-E19F-AB41-BBFD-6E77A1680056}"/>
          </ac:graphicFrameMkLst>
        </pc:graphicFrameChg>
        <pc:graphicFrameChg chg="del">
          <ac:chgData name="Ruoran Lin (DCP)" userId="5ba63a2c-b5bc-4f17-a87a-a3a824a8af35" providerId="ADAL" clId="{4261CF94-6D38-224F-86A3-F4A7F8B50E32}" dt="2020-07-13T18:24:28.364" v="360" actId="478"/>
          <ac:graphicFrameMkLst>
            <pc:docMk/>
            <pc:sldMk cId="1049441131" sldId="1040"/>
            <ac:graphicFrameMk id="10" creationId="{C74309F3-BD2E-054F-AD89-8707F08964FA}"/>
          </ac:graphicFrameMkLst>
        </pc:graphicFrameChg>
        <pc:graphicFrameChg chg="add mod">
          <ac:chgData name="Ruoran Lin (DCP)" userId="5ba63a2c-b5bc-4f17-a87a-a3a824a8af35" providerId="ADAL" clId="{4261CF94-6D38-224F-86A3-F4A7F8B50E32}" dt="2020-07-13T18:24:17.747" v="348" actId="167"/>
          <ac:graphicFrameMkLst>
            <pc:docMk/>
            <pc:sldMk cId="1049441131" sldId="1040"/>
            <ac:graphicFrameMk id="12" creationId="{CFFA1B36-5CB1-D24F-9F81-D8B570EAAA25}"/>
          </ac:graphicFrameMkLst>
        </pc:graphicFrameChg>
        <pc:graphicFrameChg chg="add mod">
          <ac:chgData name="Ruoran Lin (DCP)" userId="5ba63a2c-b5bc-4f17-a87a-a3a824a8af35" providerId="ADAL" clId="{4261CF94-6D38-224F-86A3-F4A7F8B50E32}" dt="2020-07-13T18:25:29.097" v="370" actId="1582"/>
          <ac:graphicFrameMkLst>
            <pc:docMk/>
            <pc:sldMk cId="1049441131" sldId="1040"/>
            <ac:graphicFrameMk id="13" creationId="{C74309F3-BD2E-054F-AD89-8707F08964FA}"/>
          </ac:graphicFrameMkLst>
        </pc:graphicFrameChg>
        <pc:graphicFrameChg chg="add del">
          <ac:chgData name="Ruoran Lin (DCP)" userId="5ba63a2c-b5bc-4f17-a87a-a3a824a8af35" providerId="ADAL" clId="{4261CF94-6D38-224F-86A3-F4A7F8B50E32}" dt="2020-07-14T20:59:05.234" v="721"/>
          <ac:graphicFrameMkLst>
            <pc:docMk/>
            <pc:sldMk cId="1049441131" sldId="1040"/>
            <ac:graphicFrameMk id="15" creationId="{442154BC-23DA-B147-BF67-2E5B4ABD6BE4}"/>
          </ac:graphicFrameMkLst>
        </pc:graphicFrameChg>
      </pc:sldChg>
      <pc:sldChg chg="addSp delSp modSp mod">
        <pc:chgData name="Ruoran Lin (DCP)" userId="5ba63a2c-b5bc-4f17-a87a-a3a824a8af35" providerId="ADAL" clId="{4261CF94-6D38-224F-86A3-F4A7F8B50E32}" dt="2020-07-13T18:33:01.020" v="569" actId="207"/>
        <pc:sldMkLst>
          <pc:docMk/>
          <pc:sldMk cId="2855638099" sldId="1089"/>
        </pc:sldMkLst>
        <pc:spChg chg="mod">
          <ac:chgData name="Ruoran Lin (DCP)" userId="5ba63a2c-b5bc-4f17-a87a-a3a824a8af35" providerId="ADAL" clId="{4261CF94-6D38-224F-86A3-F4A7F8B50E32}" dt="2020-07-13T18:32:34.106" v="562" actId="20577"/>
          <ac:spMkLst>
            <pc:docMk/>
            <pc:sldMk cId="2855638099" sldId="1089"/>
            <ac:spMk id="8" creationId="{B4306CB6-AC48-1546-B565-FD067D80C14C}"/>
          </ac:spMkLst>
        </pc:spChg>
        <pc:spChg chg="mod">
          <ac:chgData name="Ruoran Lin (DCP)" userId="5ba63a2c-b5bc-4f17-a87a-a3a824a8af35" providerId="ADAL" clId="{4261CF94-6D38-224F-86A3-F4A7F8B50E32}" dt="2020-07-13T18:33:01.020" v="569" actId="207"/>
          <ac:spMkLst>
            <pc:docMk/>
            <pc:sldMk cId="2855638099" sldId="1089"/>
            <ac:spMk id="11" creationId="{C38C2445-920F-495A-917D-969FA0B85024}"/>
          </ac:spMkLst>
        </pc:spChg>
        <pc:graphicFrameChg chg="del">
          <ac:chgData name="Ruoran Lin (DCP)" userId="5ba63a2c-b5bc-4f17-a87a-a3a824a8af35" providerId="ADAL" clId="{4261CF94-6D38-224F-86A3-F4A7F8B50E32}" dt="2020-07-13T18:30:29.040" v="508" actId="478"/>
          <ac:graphicFrameMkLst>
            <pc:docMk/>
            <pc:sldMk cId="2855638099" sldId="1089"/>
            <ac:graphicFrameMk id="12" creationId="{FDFB51FB-6C34-BA4D-966D-38B3F4DE955A}"/>
          </ac:graphicFrameMkLst>
        </pc:graphicFrameChg>
        <pc:graphicFrameChg chg="del">
          <ac:chgData name="Ruoran Lin (DCP)" userId="5ba63a2c-b5bc-4f17-a87a-a3a824a8af35" providerId="ADAL" clId="{4261CF94-6D38-224F-86A3-F4A7F8B50E32}" dt="2020-07-13T18:31:09.799" v="517" actId="478"/>
          <ac:graphicFrameMkLst>
            <pc:docMk/>
            <pc:sldMk cId="2855638099" sldId="1089"/>
            <ac:graphicFrameMk id="13" creationId="{3493FB8C-B80D-B544-A011-D64761D96A7B}"/>
          </ac:graphicFrameMkLst>
        </pc:graphicFrameChg>
        <pc:graphicFrameChg chg="add mod">
          <ac:chgData name="Ruoran Lin (DCP)" userId="5ba63a2c-b5bc-4f17-a87a-a3a824a8af35" providerId="ADAL" clId="{4261CF94-6D38-224F-86A3-F4A7F8B50E32}" dt="2020-07-13T18:32:53.879" v="563" actId="171"/>
          <ac:graphicFrameMkLst>
            <pc:docMk/>
            <pc:sldMk cId="2855638099" sldId="1089"/>
            <ac:graphicFrameMk id="15" creationId="{FDFB51FB-6C34-BA4D-966D-38B3F4DE955A}"/>
          </ac:graphicFrameMkLst>
        </pc:graphicFrameChg>
        <pc:graphicFrameChg chg="add mod">
          <ac:chgData name="Ruoran Lin (DCP)" userId="5ba63a2c-b5bc-4f17-a87a-a3a824a8af35" providerId="ADAL" clId="{4261CF94-6D38-224F-86A3-F4A7F8B50E32}" dt="2020-07-13T18:31:44.574" v="526" actId="1582"/>
          <ac:graphicFrameMkLst>
            <pc:docMk/>
            <pc:sldMk cId="2855638099" sldId="1089"/>
            <ac:graphicFrameMk id="16" creationId="{3493FB8C-B80D-B544-A011-D64761D96A7B}"/>
          </ac:graphicFrameMkLst>
        </pc:graphicFrameChg>
      </pc:sldChg>
      <pc:sldChg chg="addSp delSp modSp add mod">
        <pc:chgData name="Ruoran Lin (DCP)" userId="5ba63a2c-b5bc-4f17-a87a-a3a824a8af35" providerId="ADAL" clId="{4261CF94-6D38-224F-86A3-F4A7F8B50E32}" dt="2020-07-14T20:55:48.460" v="626" actId="1076"/>
        <pc:sldMkLst>
          <pc:docMk/>
          <pc:sldMk cId="2535481493" sldId="1116"/>
        </pc:sldMkLst>
        <pc:spChg chg="mod">
          <ac:chgData name="Ruoran Lin (DCP)" userId="5ba63a2c-b5bc-4f17-a87a-a3a824a8af35" providerId="ADAL" clId="{4261CF94-6D38-224F-86A3-F4A7F8B50E32}" dt="2020-07-14T20:55:44.504" v="625" actId="20577"/>
          <ac:spMkLst>
            <pc:docMk/>
            <pc:sldMk cId="2535481493" sldId="1116"/>
            <ac:spMk id="2" creationId="{AFF6A9B6-BBBB-4C91-BB36-53BD5FAB6C0D}"/>
          </ac:spMkLst>
        </pc:spChg>
        <pc:spChg chg="del">
          <ac:chgData name="Ruoran Lin (DCP)" userId="5ba63a2c-b5bc-4f17-a87a-a3a824a8af35" providerId="ADAL" clId="{4261CF94-6D38-224F-86A3-F4A7F8B50E32}" dt="2020-07-14T20:55:30.868" v="612" actId="478"/>
          <ac:spMkLst>
            <pc:docMk/>
            <pc:sldMk cId="2535481493" sldId="1116"/>
            <ac:spMk id="7" creationId="{D67C42E5-6C83-4DD9-B533-0801BA53BC11}"/>
          </ac:spMkLst>
        </pc:spChg>
        <pc:spChg chg="mod">
          <ac:chgData name="Ruoran Lin (DCP)" userId="5ba63a2c-b5bc-4f17-a87a-a3a824a8af35" providerId="ADAL" clId="{4261CF94-6D38-224F-86A3-F4A7F8B50E32}" dt="2020-07-14T20:55:48.460" v="626" actId="1076"/>
          <ac:spMkLst>
            <pc:docMk/>
            <pc:sldMk cId="2535481493" sldId="1116"/>
            <ac:spMk id="8" creationId="{B4306CB6-AC48-1546-B565-FD067D80C14C}"/>
          </ac:spMkLst>
        </pc:spChg>
        <pc:graphicFrameChg chg="del">
          <ac:chgData name="Ruoran Lin (DCP)" userId="5ba63a2c-b5bc-4f17-a87a-a3a824a8af35" providerId="ADAL" clId="{4261CF94-6D38-224F-86A3-F4A7F8B50E32}" dt="2020-07-14T20:55:28.664" v="611" actId="478"/>
          <ac:graphicFrameMkLst>
            <pc:docMk/>
            <pc:sldMk cId="2535481493" sldId="1116"/>
            <ac:graphicFrameMk id="9" creationId="{C52C45DA-F6CF-E349-9324-DF79CE4673A6}"/>
          </ac:graphicFrameMkLst>
        </pc:graphicFrameChg>
        <pc:graphicFrameChg chg="add mod">
          <ac:chgData name="Ruoran Lin (DCP)" userId="5ba63a2c-b5bc-4f17-a87a-a3a824a8af35" providerId="ADAL" clId="{4261CF94-6D38-224F-86A3-F4A7F8B50E32}" dt="2020-07-14T20:55:38.215" v="616" actId="1076"/>
          <ac:graphicFrameMkLst>
            <pc:docMk/>
            <pc:sldMk cId="2535481493" sldId="1116"/>
            <ac:graphicFrameMk id="10" creationId="{7CA9D784-8A66-BF44-A6EA-3D4DAC7EF62A}"/>
          </ac:graphicFrameMkLst>
        </pc:graphicFrameChg>
      </pc:sldChg>
    </pc:docChg>
  </pc:docChgLst>
  <pc:docChgLst>
    <pc:chgData name="Laura Smith (DCP)" userId="04d996ad-c8c0-4279-84c0-115ebcf63bba" providerId="ADAL" clId="{D845F3BD-F151-4A95-BEE2-F49DB741D04E}"/>
    <pc:docChg chg="undo redo custSel modSld">
      <pc:chgData name="Laura Smith (DCP)" userId="04d996ad-c8c0-4279-84c0-115ebcf63bba" providerId="ADAL" clId="{D845F3BD-F151-4A95-BEE2-F49DB741D04E}" dt="2020-08-11T23:00:54.924" v="3782" actId="14100"/>
      <pc:docMkLst>
        <pc:docMk/>
      </pc:docMkLst>
      <pc:sldChg chg="addSp delSp modSp delCm">
        <pc:chgData name="Laura Smith (DCP)" userId="04d996ad-c8c0-4279-84c0-115ebcf63bba" providerId="ADAL" clId="{D845F3BD-F151-4A95-BEE2-F49DB741D04E}" dt="2020-08-11T23:00:04.840" v="3780"/>
        <pc:sldMkLst>
          <pc:docMk/>
          <pc:sldMk cId="3417640896" sldId="660"/>
        </pc:sldMkLst>
        <pc:spChg chg="mod">
          <ac:chgData name="Laura Smith (DCP)" userId="04d996ad-c8c0-4279-84c0-115ebcf63bba" providerId="ADAL" clId="{D845F3BD-F151-4A95-BEE2-F49DB741D04E}" dt="2020-08-11T23:00:04.840" v="3780"/>
          <ac:spMkLst>
            <pc:docMk/>
            <pc:sldMk cId="3417640896" sldId="660"/>
            <ac:spMk id="3" creationId="{D2AC686F-77B0-4B98-9400-AE95D8E98FF4}"/>
          </ac:spMkLst>
        </pc:spChg>
        <pc:spChg chg="add del">
          <ac:chgData name="Laura Smith (DCP)" userId="04d996ad-c8c0-4279-84c0-115ebcf63bba" providerId="ADAL" clId="{D845F3BD-F151-4A95-BEE2-F49DB741D04E}" dt="2020-08-11T20:07:03.345" v="1278" actId="478"/>
          <ac:spMkLst>
            <pc:docMk/>
            <pc:sldMk cId="3417640896" sldId="660"/>
            <ac:spMk id="5" creationId="{3D689BA3-AF7B-49BF-913C-3F3C7CBFD379}"/>
          </ac:spMkLst>
        </pc:spChg>
      </pc:sldChg>
      <pc:sldChg chg="addSp delSp modSp">
        <pc:chgData name="Laura Smith (DCP)" userId="04d996ad-c8c0-4279-84c0-115ebcf63bba" providerId="ADAL" clId="{D845F3BD-F151-4A95-BEE2-F49DB741D04E}" dt="2020-08-11T19:24:21.221" v="1236" actId="20577"/>
        <pc:sldMkLst>
          <pc:docMk/>
          <pc:sldMk cId="4030096002" sldId="691"/>
        </pc:sldMkLst>
        <pc:spChg chg="mod">
          <ac:chgData name="Laura Smith (DCP)" userId="04d996ad-c8c0-4279-84c0-115ebcf63bba" providerId="ADAL" clId="{D845F3BD-F151-4A95-BEE2-F49DB741D04E}" dt="2020-08-11T19:24:21.221" v="1236" actId="20577"/>
          <ac:spMkLst>
            <pc:docMk/>
            <pc:sldMk cId="4030096002" sldId="691"/>
            <ac:spMk id="3" creationId="{D2AC686F-77B0-4B98-9400-AE95D8E98FF4}"/>
          </ac:spMkLst>
        </pc:spChg>
        <pc:spChg chg="add del mod">
          <ac:chgData name="Laura Smith (DCP)" userId="04d996ad-c8c0-4279-84c0-115ebcf63bba" providerId="ADAL" clId="{D845F3BD-F151-4A95-BEE2-F49DB741D04E}" dt="2020-08-11T19:20:58.586" v="575" actId="478"/>
          <ac:spMkLst>
            <pc:docMk/>
            <pc:sldMk cId="4030096002" sldId="691"/>
            <ac:spMk id="5" creationId="{3365A6AC-44CB-4A2F-916F-DFECD0DF17AD}"/>
          </ac:spMkLst>
        </pc:spChg>
      </pc:sldChg>
      <pc:sldChg chg="delSp modSp delCm">
        <pc:chgData name="Laura Smith (DCP)" userId="04d996ad-c8c0-4279-84c0-115ebcf63bba" providerId="ADAL" clId="{D845F3BD-F151-4A95-BEE2-F49DB741D04E}" dt="2020-08-11T19:17:06.096" v="420" actId="1035"/>
        <pc:sldMkLst>
          <pc:docMk/>
          <pc:sldMk cId="1519931681" sldId="923"/>
        </pc:sldMkLst>
        <pc:spChg chg="del">
          <ac:chgData name="Laura Smith (DCP)" userId="04d996ad-c8c0-4279-84c0-115ebcf63bba" providerId="ADAL" clId="{D845F3BD-F151-4A95-BEE2-F49DB741D04E}" dt="2020-08-11T19:16:47.031" v="410" actId="478"/>
          <ac:spMkLst>
            <pc:docMk/>
            <pc:sldMk cId="1519931681" sldId="923"/>
            <ac:spMk id="5" creationId="{02C186E5-4C2D-3948-95DD-9C300517C334}"/>
          </ac:spMkLst>
        </pc:spChg>
        <pc:spChg chg="mod">
          <ac:chgData name="Laura Smith (DCP)" userId="04d996ad-c8c0-4279-84c0-115ebcf63bba" providerId="ADAL" clId="{D845F3BD-F151-4A95-BEE2-F49DB741D04E}" dt="2020-08-11T19:16:58.568" v="411" actId="20577"/>
          <ac:spMkLst>
            <pc:docMk/>
            <pc:sldMk cId="1519931681" sldId="923"/>
            <ac:spMk id="25" creationId="{13B87C1F-74FA-7648-A5E7-2CB01BB275C1}"/>
          </ac:spMkLst>
        </pc:spChg>
        <pc:graphicFrameChg chg="mod">
          <ac:chgData name="Laura Smith (DCP)" userId="04d996ad-c8c0-4279-84c0-115ebcf63bba" providerId="ADAL" clId="{D845F3BD-F151-4A95-BEE2-F49DB741D04E}" dt="2020-08-11T19:17:06.096" v="420" actId="1035"/>
          <ac:graphicFrameMkLst>
            <pc:docMk/>
            <pc:sldMk cId="1519931681" sldId="923"/>
            <ac:graphicFrameMk id="16" creationId="{A02ADCAF-7863-324A-9F02-208B1F40E7D2}"/>
          </ac:graphicFrameMkLst>
        </pc:graphicFrameChg>
      </pc:sldChg>
      <pc:sldChg chg="addSp modSp">
        <pc:chgData name="Laura Smith (DCP)" userId="04d996ad-c8c0-4279-84c0-115ebcf63bba" providerId="ADAL" clId="{D845F3BD-F151-4A95-BEE2-F49DB741D04E}" dt="2020-08-11T19:10:59.936" v="177" actId="20577"/>
        <pc:sldMkLst>
          <pc:docMk/>
          <pc:sldMk cId="3893609620" sldId="945"/>
        </pc:sldMkLst>
        <pc:spChg chg="mod">
          <ac:chgData name="Laura Smith (DCP)" userId="04d996ad-c8c0-4279-84c0-115ebcf63bba" providerId="ADAL" clId="{D845F3BD-F151-4A95-BEE2-F49DB741D04E}" dt="2020-08-11T19:10:59.936" v="177" actId="20577"/>
          <ac:spMkLst>
            <pc:docMk/>
            <pc:sldMk cId="3893609620" sldId="945"/>
            <ac:spMk id="11" creationId="{3D4BD243-6BB9-4167-91CA-D171B4EC2B79}"/>
          </ac:spMkLst>
        </pc:spChg>
        <pc:spChg chg="add mod">
          <ac:chgData name="Laura Smith (DCP)" userId="04d996ad-c8c0-4279-84c0-115ebcf63bba" providerId="ADAL" clId="{D845F3BD-F151-4A95-BEE2-F49DB741D04E}" dt="2020-08-11T16:52:50.419" v="43" actId="1076"/>
          <ac:spMkLst>
            <pc:docMk/>
            <pc:sldMk cId="3893609620" sldId="945"/>
            <ac:spMk id="36" creationId="{C76D42A0-A730-4DCD-B272-65034AC06917}"/>
          </ac:spMkLst>
        </pc:spChg>
      </pc:sldChg>
      <pc:sldChg chg="modSp delCm">
        <pc:chgData name="Laura Smith (DCP)" userId="04d996ad-c8c0-4279-84c0-115ebcf63bba" providerId="ADAL" clId="{D845F3BD-F151-4A95-BEE2-F49DB741D04E}" dt="2020-08-11T20:49:00.165" v="2712" actId="1035"/>
        <pc:sldMkLst>
          <pc:docMk/>
          <pc:sldMk cId="1905173972" sldId="1021"/>
        </pc:sldMkLst>
        <pc:spChg chg="mod">
          <ac:chgData name="Laura Smith (DCP)" userId="04d996ad-c8c0-4279-84c0-115ebcf63bba" providerId="ADAL" clId="{D845F3BD-F151-4A95-BEE2-F49DB741D04E}" dt="2020-08-11T20:49:00.165" v="2712" actId="1035"/>
          <ac:spMkLst>
            <pc:docMk/>
            <pc:sldMk cId="1905173972" sldId="1021"/>
            <ac:spMk id="6" creationId="{A25A1C29-250D-44E2-A304-C80619528D79}"/>
          </ac:spMkLst>
        </pc:spChg>
        <pc:graphicFrameChg chg="mod">
          <ac:chgData name="Laura Smith (DCP)" userId="04d996ad-c8c0-4279-84c0-115ebcf63bba" providerId="ADAL" clId="{D845F3BD-F151-4A95-BEE2-F49DB741D04E}" dt="2020-08-11T20:48:41.597" v="2704"/>
          <ac:graphicFrameMkLst>
            <pc:docMk/>
            <pc:sldMk cId="1905173972" sldId="1021"/>
            <ac:graphicFrameMk id="9" creationId="{E20C45EC-BE3F-467E-BF4C-DA873D893AC3}"/>
          </ac:graphicFrameMkLst>
        </pc:graphicFrameChg>
        <pc:graphicFrameChg chg="mod">
          <ac:chgData name="Laura Smith (DCP)" userId="04d996ad-c8c0-4279-84c0-115ebcf63bba" providerId="ADAL" clId="{D845F3BD-F151-4A95-BEE2-F49DB741D04E}" dt="2020-08-11T20:48:55.655" v="2708"/>
          <ac:graphicFrameMkLst>
            <pc:docMk/>
            <pc:sldMk cId="1905173972" sldId="1021"/>
            <ac:graphicFrameMk id="13" creationId="{C3DE53ED-442A-4758-AE52-39553F93F170}"/>
          </ac:graphicFrameMkLst>
        </pc:graphicFrameChg>
      </pc:sldChg>
      <pc:sldChg chg="addSp delSp modSp">
        <pc:chgData name="Laura Smith (DCP)" userId="04d996ad-c8c0-4279-84c0-115ebcf63bba" providerId="ADAL" clId="{D845F3BD-F151-4A95-BEE2-F49DB741D04E}" dt="2020-08-11T17:03:40.980" v="162" actId="20577"/>
        <pc:sldMkLst>
          <pc:docMk/>
          <pc:sldMk cId="1155418492" sldId="1026"/>
        </pc:sldMkLst>
        <pc:spChg chg="mod">
          <ac:chgData name="Laura Smith (DCP)" userId="04d996ad-c8c0-4279-84c0-115ebcf63bba" providerId="ADAL" clId="{D845F3BD-F151-4A95-BEE2-F49DB741D04E}" dt="2020-08-11T17:03:40.980" v="162" actId="20577"/>
          <ac:spMkLst>
            <pc:docMk/>
            <pc:sldMk cId="1155418492" sldId="1026"/>
            <ac:spMk id="2" creationId="{AFF6A9B6-BBBB-4C91-BB36-53BD5FAB6C0D}"/>
          </ac:spMkLst>
        </pc:spChg>
        <pc:spChg chg="mod">
          <ac:chgData name="Laura Smith (DCP)" userId="04d996ad-c8c0-4279-84c0-115ebcf63bba" providerId="ADAL" clId="{D845F3BD-F151-4A95-BEE2-F49DB741D04E}" dt="2020-08-11T17:03:25.001" v="158" actId="1076"/>
          <ac:spMkLst>
            <pc:docMk/>
            <pc:sldMk cId="1155418492" sldId="1026"/>
            <ac:spMk id="6" creationId="{6112D5FE-E18B-6A43-BA78-7662CB7AF3D1}"/>
          </ac:spMkLst>
        </pc:spChg>
        <pc:spChg chg="del mod">
          <ac:chgData name="Laura Smith (DCP)" userId="04d996ad-c8c0-4279-84c0-115ebcf63bba" providerId="ADAL" clId="{D845F3BD-F151-4A95-BEE2-F49DB741D04E}" dt="2020-08-11T16:55:32.678" v="81"/>
          <ac:spMkLst>
            <pc:docMk/>
            <pc:sldMk cId="1155418492" sldId="1026"/>
            <ac:spMk id="7" creationId="{5DD5AC5F-360F-8042-AE73-AF91185B9B19}"/>
          </ac:spMkLst>
        </pc:spChg>
        <pc:spChg chg="add del">
          <ac:chgData name="Laura Smith (DCP)" userId="04d996ad-c8c0-4279-84c0-115ebcf63bba" providerId="ADAL" clId="{D845F3BD-F151-4A95-BEE2-F49DB741D04E}" dt="2020-08-11T17:03:21.618" v="157" actId="478"/>
          <ac:spMkLst>
            <pc:docMk/>
            <pc:sldMk cId="1155418492" sldId="1026"/>
            <ac:spMk id="9" creationId="{57F3A4D8-433A-439F-8046-20918B6BAAD9}"/>
          </ac:spMkLst>
        </pc:spChg>
        <pc:graphicFrameChg chg="del">
          <ac:chgData name="Laura Smith (DCP)" userId="04d996ad-c8c0-4279-84c0-115ebcf63bba" providerId="ADAL" clId="{D845F3BD-F151-4A95-BEE2-F49DB741D04E}" dt="2020-08-11T17:03:20.293" v="156" actId="478"/>
          <ac:graphicFrameMkLst>
            <pc:docMk/>
            <pc:sldMk cId="1155418492" sldId="1026"/>
            <ac:graphicFrameMk id="15" creationId="{519EE0ED-7A72-3348-8735-5519A41EDCB8}"/>
          </ac:graphicFrameMkLst>
        </pc:graphicFrameChg>
      </pc:sldChg>
      <pc:sldChg chg="addSp delSp modSp">
        <pc:chgData name="Laura Smith (DCP)" userId="04d996ad-c8c0-4279-84c0-115ebcf63bba" providerId="ADAL" clId="{D845F3BD-F151-4A95-BEE2-F49DB741D04E}" dt="2020-08-11T19:13:31.372" v="281" actId="20577"/>
        <pc:sldMkLst>
          <pc:docMk/>
          <pc:sldMk cId="1049441131" sldId="1040"/>
        </pc:sldMkLst>
        <pc:spChg chg="mod">
          <ac:chgData name="Laura Smith (DCP)" userId="04d996ad-c8c0-4279-84c0-115ebcf63bba" providerId="ADAL" clId="{D845F3BD-F151-4A95-BEE2-F49DB741D04E}" dt="2020-08-11T19:13:31.372" v="281" actId="20577"/>
          <ac:spMkLst>
            <pc:docMk/>
            <pc:sldMk cId="1049441131" sldId="1040"/>
            <ac:spMk id="8" creationId="{B4306CB6-AC48-1546-B565-FD067D80C14C}"/>
          </ac:spMkLst>
        </pc:spChg>
        <pc:spChg chg="add del mod">
          <ac:chgData name="Laura Smith (DCP)" userId="04d996ad-c8c0-4279-84c0-115ebcf63bba" providerId="ADAL" clId="{D845F3BD-F151-4A95-BEE2-F49DB741D04E}" dt="2020-08-11T17:03:08.307" v="154" actId="478"/>
          <ac:spMkLst>
            <pc:docMk/>
            <pc:sldMk cId="1049441131" sldId="1040"/>
            <ac:spMk id="9" creationId="{B411B069-3C1F-4490-B479-D2F83CC1FC54}"/>
          </ac:spMkLst>
        </pc:spChg>
        <pc:spChg chg="del mod">
          <ac:chgData name="Laura Smith (DCP)" userId="04d996ad-c8c0-4279-84c0-115ebcf63bba" providerId="ADAL" clId="{D845F3BD-F151-4A95-BEE2-F49DB741D04E}" dt="2020-08-11T16:55:13.605" v="77"/>
          <ac:spMkLst>
            <pc:docMk/>
            <pc:sldMk cId="1049441131" sldId="1040"/>
            <ac:spMk id="14" creationId="{437F0068-2F47-8346-A239-A480DB4C0B54}"/>
          </ac:spMkLst>
        </pc:spChg>
        <pc:graphicFrameChg chg="del mod">
          <ac:chgData name="Laura Smith (DCP)" userId="04d996ad-c8c0-4279-84c0-115ebcf63bba" providerId="ADAL" clId="{D845F3BD-F151-4A95-BEE2-F49DB741D04E}" dt="2020-08-11T17:03:05.763" v="153" actId="478"/>
          <ac:graphicFrameMkLst>
            <pc:docMk/>
            <pc:sldMk cId="1049441131" sldId="1040"/>
            <ac:graphicFrameMk id="13" creationId="{C74309F3-BD2E-054F-AD89-8707F08964FA}"/>
          </ac:graphicFrameMkLst>
        </pc:graphicFrameChg>
      </pc:sldChg>
      <pc:sldChg chg="addSp modSp">
        <pc:chgData name="Laura Smith (DCP)" userId="04d996ad-c8c0-4279-84c0-115ebcf63bba" providerId="ADAL" clId="{D845F3BD-F151-4A95-BEE2-F49DB741D04E}" dt="2020-08-11T20:52:13.630" v="3007" actId="6549"/>
        <pc:sldMkLst>
          <pc:docMk/>
          <pc:sldMk cId="828195153" sldId="1043"/>
        </pc:sldMkLst>
        <pc:spChg chg="add mod">
          <ac:chgData name="Laura Smith (DCP)" userId="04d996ad-c8c0-4279-84c0-115ebcf63bba" providerId="ADAL" clId="{D845F3BD-F151-4A95-BEE2-F49DB741D04E}" dt="2020-08-11T17:02:18.939" v="152" actId="1076"/>
          <ac:spMkLst>
            <pc:docMk/>
            <pc:sldMk cId="828195153" sldId="1043"/>
            <ac:spMk id="3" creationId="{61ADA95D-C292-4B7A-95CE-F8F7ED8368E0}"/>
          </ac:spMkLst>
        </pc:spChg>
        <pc:spChg chg="mod">
          <ac:chgData name="Laura Smith (DCP)" userId="04d996ad-c8c0-4279-84c0-115ebcf63bba" providerId="ADAL" clId="{D845F3BD-F151-4A95-BEE2-F49DB741D04E}" dt="2020-08-11T20:52:13.630" v="3007" actId="6549"/>
          <ac:spMkLst>
            <pc:docMk/>
            <pc:sldMk cId="828195153" sldId="1043"/>
            <ac:spMk id="6" creationId="{566F1000-6C7A-E84A-BA94-F0F06058814B}"/>
          </ac:spMkLst>
        </pc:spChg>
      </pc:sldChg>
      <pc:sldChg chg="addSp delSp modSp mod">
        <pc:chgData name="Laura Smith (DCP)" userId="04d996ad-c8c0-4279-84c0-115ebcf63bba" providerId="ADAL" clId="{D845F3BD-F151-4A95-BEE2-F49DB741D04E}" dt="2020-08-11T22:57:42.466" v="3670" actId="1076"/>
        <pc:sldMkLst>
          <pc:docMk/>
          <pc:sldMk cId="520716004" sldId="1058"/>
        </pc:sldMkLst>
        <pc:spChg chg="mod">
          <ac:chgData name="Laura Smith (DCP)" userId="04d996ad-c8c0-4279-84c0-115ebcf63bba" providerId="ADAL" clId="{D845F3BD-F151-4A95-BEE2-F49DB741D04E}" dt="2020-08-11T22:55:43.303" v="3662" actId="404"/>
          <ac:spMkLst>
            <pc:docMk/>
            <pc:sldMk cId="520716004" sldId="1058"/>
            <ac:spMk id="9" creationId="{BF15CC37-17A3-48B8-8AF4-369FA726998B}"/>
          </ac:spMkLst>
        </pc:spChg>
        <pc:spChg chg="add del">
          <ac:chgData name="Laura Smith (DCP)" userId="04d996ad-c8c0-4279-84c0-115ebcf63bba" providerId="ADAL" clId="{D845F3BD-F151-4A95-BEE2-F49DB741D04E}" dt="2020-08-11T17:01:06.374" v="123"/>
          <ac:spMkLst>
            <pc:docMk/>
            <pc:sldMk cId="520716004" sldId="1058"/>
            <ac:spMk id="11" creationId="{8A25DC1B-D6C5-464E-BB9E-831BDBC9809A}"/>
          </ac:spMkLst>
        </pc:spChg>
        <pc:spChg chg="add del mod">
          <ac:chgData name="Laura Smith (DCP)" userId="04d996ad-c8c0-4279-84c0-115ebcf63bba" providerId="ADAL" clId="{D845F3BD-F151-4A95-BEE2-F49DB741D04E}" dt="2020-08-11T22:48:20.001" v="3173" actId="478"/>
          <ac:spMkLst>
            <pc:docMk/>
            <pc:sldMk cId="520716004" sldId="1058"/>
            <ac:spMk id="12" creationId="{80447A45-3516-43E3-A100-A4457F213286}"/>
          </ac:spMkLst>
        </pc:spChg>
        <pc:graphicFrameChg chg="add mod">
          <ac:chgData name="Laura Smith (DCP)" userId="04d996ad-c8c0-4279-84c0-115ebcf63bba" providerId="ADAL" clId="{D845F3BD-F151-4A95-BEE2-F49DB741D04E}" dt="2020-08-11T22:57:42.466" v="3670" actId="1076"/>
          <ac:graphicFrameMkLst>
            <pc:docMk/>
            <pc:sldMk cId="520716004" sldId="1058"/>
            <ac:graphicFrameMk id="13" creationId="{DBFD665C-3830-45CE-90AC-D439B486D228}"/>
          </ac:graphicFrameMkLst>
        </pc:graphicFrameChg>
        <pc:graphicFrameChg chg="del">
          <ac:chgData name="Laura Smith (DCP)" userId="04d996ad-c8c0-4279-84c0-115ebcf63bba" providerId="ADAL" clId="{D845F3BD-F151-4A95-BEE2-F49DB741D04E}" dt="2020-08-11T22:48:27.070" v="3174" actId="478"/>
          <ac:graphicFrameMkLst>
            <pc:docMk/>
            <pc:sldMk cId="520716004" sldId="1058"/>
            <ac:graphicFrameMk id="14" creationId="{E99E8903-D15B-4CBC-B9DA-DE510C7AA775}"/>
          </ac:graphicFrameMkLst>
        </pc:graphicFrameChg>
      </pc:sldChg>
      <pc:sldChg chg="modSp">
        <pc:chgData name="Laura Smith (DCP)" userId="04d996ad-c8c0-4279-84c0-115ebcf63bba" providerId="ADAL" clId="{D845F3BD-F151-4A95-BEE2-F49DB741D04E}" dt="2020-08-11T20:07:41.579" v="1337" actId="5793"/>
        <pc:sldMkLst>
          <pc:docMk/>
          <pc:sldMk cId="2415737977" sldId="1063"/>
        </pc:sldMkLst>
        <pc:spChg chg="mod">
          <ac:chgData name="Laura Smith (DCP)" userId="04d996ad-c8c0-4279-84c0-115ebcf63bba" providerId="ADAL" clId="{D845F3BD-F151-4A95-BEE2-F49DB741D04E}" dt="2020-08-11T20:07:41.579" v="1337" actId="5793"/>
          <ac:spMkLst>
            <pc:docMk/>
            <pc:sldMk cId="2415737977" sldId="1063"/>
            <ac:spMk id="20" creationId="{F5A93634-EFB0-4F1D-8EB9-1AD5FF7384D9}"/>
          </ac:spMkLst>
        </pc:spChg>
      </pc:sldChg>
      <pc:sldChg chg="delSp modSp">
        <pc:chgData name="Laura Smith (DCP)" userId="04d996ad-c8c0-4279-84c0-115ebcf63bba" providerId="ADAL" clId="{D845F3BD-F151-4A95-BEE2-F49DB741D04E}" dt="2020-08-11T19:17:15.024" v="422" actId="20577"/>
        <pc:sldMkLst>
          <pc:docMk/>
          <pc:sldMk cId="2855638099" sldId="1089"/>
        </pc:sldMkLst>
        <pc:spChg chg="mod">
          <ac:chgData name="Laura Smith (DCP)" userId="04d996ad-c8c0-4279-84c0-115ebcf63bba" providerId="ADAL" clId="{D845F3BD-F151-4A95-BEE2-F49DB741D04E}" dt="2020-08-11T17:00:53.623" v="121" actId="404"/>
          <ac:spMkLst>
            <pc:docMk/>
            <pc:sldMk cId="2855638099" sldId="1089"/>
            <ac:spMk id="3" creationId="{B6A3976F-602B-4F59-BE0E-4AFBDEFDA2C1}"/>
          </ac:spMkLst>
        </pc:spChg>
        <pc:spChg chg="mod">
          <ac:chgData name="Laura Smith (DCP)" userId="04d996ad-c8c0-4279-84c0-115ebcf63bba" providerId="ADAL" clId="{D845F3BD-F151-4A95-BEE2-F49DB741D04E}" dt="2020-08-11T19:17:15.024" v="422" actId="20577"/>
          <ac:spMkLst>
            <pc:docMk/>
            <pc:sldMk cId="2855638099" sldId="1089"/>
            <ac:spMk id="8" creationId="{B4306CB6-AC48-1546-B565-FD067D80C14C}"/>
          </ac:spMkLst>
        </pc:spChg>
        <pc:spChg chg="del">
          <ac:chgData name="Laura Smith (DCP)" userId="04d996ad-c8c0-4279-84c0-115ebcf63bba" providerId="ADAL" clId="{D845F3BD-F151-4A95-BEE2-F49DB741D04E}" dt="2020-08-11T17:00:12.540" v="110" actId="478"/>
          <ac:spMkLst>
            <pc:docMk/>
            <pc:sldMk cId="2855638099" sldId="1089"/>
            <ac:spMk id="17" creationId="{CBDAAC02-6733-4FF8-BB19-48AFADD61E91}"/>
          </ac:spMkLst>
        </pc:spChg>
        <pc:graphicFrameChg chg="del">
          <ac:chgData name="Laura Smith (DCP)" userId="04d996ad-c8c0-4279-84c0-115ebcf63bba" providerId="ADAL" clId="{D845F3BD-F151-4A95-BEE2-F49DB741D04E}" dt="2020-08-11T17:00:09.333" v="109" actId="478"/>
          <ac:graphicFrameMkLst>
            <pc:docMk/>
            <pc:sldMk cId="2855638099" sldId="1089"/>
            <ac:graphicFrameMk id="16" creationId="{3493FB8C-B80D-B544-A011-D64761D96A7B}"/>
          </ac:graphicFrameMkLst>
        </pc:graphicFrameChg>
        <pc:picChg chg="mod">
          <ac:chgData name="Laura Smith (DCP)" userId="04d996ad-c8c0-4279-84c0-115ebcf63bba" providerId="ADAL" clId="{D845F3BD-F151-4A95-BEE2-F49DB741D04E}" dt="2020-08-11T17:00:47.731" v="119" actId="14100"/>
          <ac:picMkLst>
            <pc:docMk/>
            <pc:sldMk cId="2855638099" sldId="1089"/>
            <ac:picMk id="6" creationId="{58930C4A-0894-4BDB-B0B9-F6D3D8D6092B}"/>
          </ac:picMkLst>
        </pc:picChg>
      </pc:sldChg>
      <pc:sldChg chg="modSp">
        <pc:chgData name="Laura Smith (DCP)" userId="04d996ad-c8c0-4279-84c0-115ebcf63bba" providerId="ADAL" clId="{D845F3BD-F151-4A95-BEE2-F49DB741D04E}" dt="2020-08-11T16:53:59.464" v="70" actId="1038"/>
        <pc:sldMkLst>
          <pc:docMk/>
          <pc:sldMk cId="2535481493" sldId="1116"/>
        </pc:sldMkLst>
        <pc:spChg chg="mod">
          <ac:chgData name="Laura Smith (DCP)" userId="04d996ad-c8c0-4279-84c0-115ebcf63bba" providerId="ADAL" clId="{D845F3BD-F151-4A95-BEE2-F49DB741D04E}" dt="2020-08-11T16:53:42.566" v="57" actId="1076"/>
          <ac:spMkLst>
            <pc:docMk/>
            <pc:sldMk cId="2535481493" sldId="1116"/>
            <ac:spMk id="8" creationId="{B4306CB6-AC48-1546-B565-FD067D80C14C}"/>
          </ac:spMkLst>
        </pc:spChg>
        <pc:graphicFrameChg chg="mod">
          <ac:chgData name="Laura Smith (DCP)" userId="04d996ad-c8c0-4279-84c0-115ebcf63bba" providerId="ADAL" clId="{D845F3BD-F151-4A95-BEE2-F49DB741D04E}" dt="2020-08-11T16:53:59.464" v="70" actId="1038"/>
          <ac:graphicFrameMkLst>
            <pc:docMk/>
            <pc:sldMk cId="2535481493" sldId="1116"/>
            <ac:graphicFrameMk id="7" creationId="{7CA9D784-8A66-BF44-A6EA-3D4DAC7EF62A}"/>
          </ac:graphicFrameMkLst>
        </pc:graphicFrameChg>
      </pc:sldChg>
      <pc:sldChg chg="addSp delSp modSp delCm modCm">
        <pc:chgData name="Laura Smith (DCP)" userId="04d996ad-c8c0-4279-84c0-115ebcf63bba" providerId="ADAL" clId="{D845F3BD-F151-4A95-BEE2-F49DB741D04E}" dt="2020-08-11T19:15:45.702" v="377" actId="1035"/>
        <pc:sldMkLst>
          <pc:docMk/>
          <pc:sldMk cId="423080654" sldId="1117"/>
        </pc:sldMkLst>
        <pc:spChg chg="mod">
          <ac:chgData name="Laura Smith (DCP)" userId="04d996ad-c8c0-4279-84c0-115ebcf63bba" providerId="ADAL" clId="{D845F3BD-F151-4A95-BEE2-F49DB741D04E}" dt="2020-08-11T19:15:45.702" v="377" actId="1035"/>
          <ac:spMkLst>
            <pc:docMk/>
            <pc:sldMk cId="423080654" sldId="1117"/>
            <ac:spMk id="8" creationId="{B4306CB6-AC48-1546-B565-FD067D80C14C}"/>
          </ac:spMkLst>
        </pc:spChg>
        <pc:spChg chg="add del mod">
          <ac:chgData name="Laura Smith (DCP)" userId="04d996ad-c8c0-4279-84c0-115ebcf63bba" providerId="ADAL" clId="{D845F3BD-F151-4A95-BEE2-F49DB741D04E}" dt="2020-08-11T16:58:43.669" v="99" actId="478"/>
          <ac:spMkLst>
            <pc:docMk/>
            <pc:sldMk cId="423080654" sldId="1117"/>
            <ac:spMk id="9" creationId="{3B1164CE-BC89-44E2-B8BA-927E5A58EBC6}"/>
          </ac:spMkLst>
        </pc:spChg>
        <pc:spChg chg="del">
          <ac:chgData name="Laura Smith (DCP)" userId="04d996ad-c8c0-4279-84c0-115ebcf63bba" providerId="ADAL" clId="{D845F3BD-F151-4A95-BEE2-F49DB741D04E}" dt="2020-08-11T16:58:12.245" v="92"/>
          <ac:spMkLst>
            <pc:docMk/>
            <pc:sldMk cId="423080654" sldId="1117"/>
            <ac:spMk id="16" creationId="{EEAAF4E4-3BF2-4A27-AE32-5FE651902BB5}"/>
          </ac:spMkLst>
        </pc:spChg>
        <pc:graphicFrameChg chg="del mod">
          <ac:chgData name="Laura Smith (DCP)" userId="04d996ad-c8c0-4279-84c0-115ebcf63bba" providerId="ADAL" clId="{D845F3BD-F151-4A95-BEE2-F49DB741D04E}" dt="2020-08-11T16:58:40.884" v="98" actId="478"/>
          <ac:graphicFrameMkLst>
            <pc:docMk/>
            <pc:sldMk cId="423080654" sldId="1117"/>
            <ac:graphicFrameMk id="14" creationId="{CBDF49BE-05E1-D947-9E53-6A95B9817C41}"/>
          </ac:graphicFrameMkLst>
        </pc:graphicFrameChg>
      </pc:sldChg>
      <pc:sldChg chg="delSp modSp">
        <pc:chgData name="Laura Smith (DCP)" userId="04d996ad-c8c0-4279-84c0-115ebcf63bba" providerId="ADAL" clId="{D845F3BD-F151-4A95-BEE2-F49DB741D04E}" dt="2020-08-11T19:15:52.832" v="383" actId="1036"/>
        <pc:sldMkLst>
          <pc:docMk/>
          <pc:sldMk cId="1462918329" sldId="1118"/>
        </pc:sldMkLst>
        <pc:spChg chg="mod">
          <ac:chgData name="Laura Smith (DCP)" userId="04d996ad-c8c0-4279-84c0-115ebcf63bba" providerId="ADAL" clId="{D845F3BD-F151-4A95-BEE2-F49DB741D04E}" dt="2020-08-11T19:15:52.832" v="383" actId="1036"/>
          <ac:spMkLst>
            <pc:docMk/>
            <pc:sldMk cId="1462918329" sldId="1118"/>
            <ac:spMk id="6" creationId="{6112D5FE-E18B-6A43-BA78-7662CB7AF3D1}"/>
          </ac:spMkLst>
        </pc:spChg>
        <pc:spChg chg="del">
          <ac:chgData name="Laura Smith (DCP)" userId="04d996ad-c8c0-4279-84c0-115ebcf63bba" providerId="ADAL" clId="{D845F3BD-F151-4A95-BEE2-F49DB741D04E}" dt="2020-08-11T16:59:25.349" v="105" actId="478"/>
          <ac:spMkLst>
            <pc:docMk/>
            <pc:sldMk cId="1462918329" sldId="1118"/>
            <ac:spMk id="15" creationId="{42EEFAD9-EB99-4632-9C99-DBE1303C9E5C}"/>
          </ac:spMkLst>
        </pc:spChg>
        <pc:graphicFrameChg chg="del">
          <ac:chgData name="Laura Smith (DCP)" userId="04d996ad-c8c0-4279-84c0-115ebcf63bba" providerId="ADAL" clId="{D845F3BD-F151-4A95-BEE2-F49DB741D04E}" dt="2020-08-11T16:59:23.029" v="104" actId="478"/>
          <ac:graphicFrameMkLst>
            <pc:docMk/>
            <pc:sldMk cId="1462918329" sldId="1118"/>
            <ac:graphicFrameMk id="14" creationId="{9BDD3167-C185-E640-8474-A9E5E82FE47E}"/>
          </ac:graphicFrameMkLst>
        </pc:graphicFrameChg>
      </pc:sldChg>
      <pc:sldChg chg="delSp modSp">
        <pc:chgData name="Laura Smith (DCP)" userId="04d996ad-c8c0-4279-84c0-115ebcf63bba" providerId="ADAL" clId="{D845F3BD-F151-4A95-BEE2-F49DB741D04E}" dt="2020-08-11T19:15:28.118" v="361" actId="20577"/>
        <pc:sldMkLst>
          <pc:docMk/>
          <pc:sldMk cId="2318289709" sldId="1119"/>
        </pc:sldMkLst>
        <pc:spChg chg="mod">
          <ac:chgData name="Laura Smith (DCP)" userId="04d996ad-c8c0-4279-84c0-115ebcf63bba" providerId="ADAL" clId="{D845F3BD-F151-4A95-BEE2-F49DB741D04E}" dt="2020-08-11T19:15:28.118" v="361" actId="20577"/>
          <ac:spMkLst>
            <pc:docMk/>
            <pc:sldMk cId="2318289709" sldId="1119"/>
            <ac:spMk id="6" creationId="{6112D5FE-E18B-6A43-BA78-7662CB7AF3D1}"/>
          </ac:spMkLst>
        </pc:spChg>
        <pc:spChg chg="del">
          <ac:chgData name="Laura Smith (DCP)" userId="04d996ad-c8c0-4279-84c0-115ebcf63bba" providerId="ADAL" clId="{D845F3BD-F151-4A95-BEE2-F49DB741D04E}" dt="2020-08-11T16:59:09.349" v="102" actId="478"/>
          <ac:spMkLst>
            <pc:docMk/>
            <pc:sldMk cId="2318289709" sldId="1119"/>
            <ac:spMk id="16" creationId="{6C861208-9C6B-48E6-A4CA-BDD28984EE2A}"/>
          </ac:spMkLst>
        </pc:spChg>
        <pc:graphicFrameChg chg="del">
          <ac:chgData name="Laura Smith (DCP)" userId="04d996ad-c8c0-4279-84c0-115ebcf63bba" providerId="ADAL" clId="{D845F3BD-F151-4A95-BEE2-F49DB741D04E}" dt="2020-08-11T16:59:06.135" v="101" actId="478"/>
          <ac:graphicFrameMkLst>
            <pc:docMk/>
            <pc:sldMk cId="2318289709" sldId="1119"/>
            <ac:graphicFrameMk id="14" creationId="{013EBD7A-8F34-E341-9996-60CA6B2E0C8E}"/>
          </ac:graphicFrameMkLst>
        </pc:graphicFrameChg>
      </pc:sldChg>
      <pc:sldChg chg="addSp modSp">
        <pc:chgData name="Laura Smith (DCP)" userId="04d996ad-c8c0-4279-84c0-115ebcf63bba" providerId="ADAL" clId="{D845F3BD-F151-4A95-BEE2-F49DB741D04E}" dt="2020-08-11T19:11:57.625" v="224" actId="20577"/>
        <pc:sldMkLst>
          <pc:docMk/>
          <pc:sldMk cId="2119415700" sldId="1132"/>
        </pc:sldMkLst>
        <pc:spChg chg="mod">
          <ac:chgData name="Laura Smith (DCP)" userId="04d996ad-c8c0-4279-84c0-115ebcf63bba" providerId="ADAL" clId="{D845F3BD-F151-4A95-BEE2-F49DB741D04E}" dt="2020-08-11T19:11:57.625" v="224" actId="20577"/>
          <ac:spMkLst>
            <pc:docMk/>
            <pc:sldMk cId="2119415700" sldId="1132"/>
            <ac:spMk id="11" creationId="{3D4BD243-6BB9-4167-91CA-D171B4EC2B79}"/>
          </ac:spMkLst>
        </pc:spChg>
        <pc:spChg chg="add mod">
          <ac:chgData name="Laura Smith (DCP)" userId="04d996ad-c8c0-4279-84c0-115ebcf63bba" providerId="ADAL" clId="{D845F3BD-F151-4A95-BEE2-F49DB741D04E}" dt="2020-08-11T16:52:56.813" v="45" actId="1076"/>
          <ac:spMkLst>
            <pc:docMk/>
            <pc:sldMk cId="2119415700" sldId="1132"/>
            <ac:spMk id="19" creationId="{A726FBB1-A6E3-441A-97D3-75F7131722D9}"/>
          </ac:spMkLst>
        </pc:spChg>
      </pc:sldChg>
      <pc:sldChg chg="addSp delSp modSp">
        <pc:chgData name="Laura Smith (DCP)" userId="04d996ad-c8c0-4279-84c0-115ebcf63bba" providerId="ADAL" clId="{D845F3BD-F151-4A95-BEE2-F49DB741D04E}" dt="2020-08-11T19:12:37.430" v="277" actId="20577"/>
        <pc:sldMkLst>
          <pc:docMk/>
          <pc:sldMk cId="3089150047" sldId="1133"/>
        </pc:sldMkLst>
        <pc:spChg chg="mod">
          <ac:chgData name="Laura Smith (DCP)" userId="04d996ad-c8c0-4279-84c0-115ebcf63bba" providerId="ADAL" clId="{D845F3BD-F151-4A95-BEE2-F49DB741D04E}" dt="2020-08-11T19:12:37.430" v="277" actId="20577"/>
          <ac:spMkLst>
            <pc:docMk/>
            <pc:sldMk cId="3089150047" sldId="1133"/>
            <ac:spMk id="11" creationId="{3D4BD243-6BB9-4167-91CA-D171B4EC2B79}"/>
          </ac:spMkLst>
        </pc:spChg>
        <pc:spChg chg="add del mod">
          <ac:chgData name="Laura Smith (DCP)" userId="04d996ad-c8c0-4279-84c0-115ebcf63bba" providerId="ADAL" clId="{D845F3BD-F151-4A95-BEE2-F49DB741D04E}" dt="2020-08-11T19:10:35.812" v="163" actId="478"/>
          <ac:spMkLst>
            <pc:docMk/>
            <pc:sldMk cId="3089150047" sldId="1133"/>
            <ac:spMk id="20" creationId="{2424440A-F881-43E2-A9A1-7A3EB4AD8FA3}"/>
          </ac:spMkLst>
        </pc:spChg>
      </pc:sldChg>
      <pc:sldChg chg="modSp">
        <pc:chgData name="Laura Smith (DCP)" userId="04d996ad-c8c0-4279-84c0-115ebcf63bba" providerId="ADAL" clId="{D845F3BD-F151-4A95-BEE2-F49DB741D04E}" dt="2020-08-11T19:14:46.048" v="353" actId="113"/>
        <pc:sldMkLst>
          <pc:docMk/>
          <pc:sldMk cId="3310687531" sldId="1134"/>
        </pc:sldMkLst>
        <pc:spChg chg="mod">
          <ac:chgData name="Laura Smith (DCP)" userId="04d996ad-c8c0-4279-84c0-115ebcf63bba" providerId="ADAL" clId="{D845F3BD-F151-4A95-BEE2-F49DB741D04E}" dt="2020-08-11T19:14:21.358" v="351" actId="20577"/>
          <ac:spMkLst>
            <pc:docMk/>
            <pc:sldMk cId="3310687531" sldId="1134"/>
            <ac:spMk id="2" creationId="{AFF6A9B6-BBBB-4C91-BB36-53BD5FAB6C0D}"/>
          </ac:spMkLst>
        </pc:spChg>
        <pc:spChg chg="mod">
          <ac:chgData name="Laura Smith (DCP)" userId="04d996ad-c8c0-4279-84c0-115ebcf63bba" providerId="ADAL" clId="{D845F3BD-F151-4A95-BEE2-F49DB741D04E}" dt="2020-08-11T16:56:47.834" v="89" actId="14100"/>
          <ac:spMkLst>
            <pc:docMk/>
            <pc:sldMk cId="3310687531" sldId="1134"/>
            <ac:spMk id="3" creationId="{6858E440-5B76-4D68-A87B-A905D688B756}"/>
          </ac:spMkLst>
        </pc:spChg>
        <pc:graphicFrameChg chg="mod">
          <ac:chgData name="Laura Smith (DCP)" userId="04d996ad-c8c0-4279-84c0-115ebcf63bba" providerId="ADAL" clId="{D845F3BD-F151-4A95-BEE2-F49DB741D04E}" dt="2020-08-11T19:14:42.119" v="352" actId="113"/>
          <ac:graphicFrameMkLst>
            <pc:docMk/>
            <pc:sldMk cId="3310687531" sldId="1134"/>
            <ac:graphicFrameMk id="8" creationId="{15CA4A1D-9978-FE49-B612-0CA1F8C502BF}"/>
          </ac:graphicFrameMkLst>
        </pc:graphicFrameChg>
        <pc:graphicFrameChg chg="mod">
          <ac:chgData name="Laura Smith (DCP)" userId="04d996ad-c8c0-4279-84c0-115ebcf63bba" providerId="ADAL" clId="{D845F3BD-F151-4A95-BEE2-F49DB741D04E}" dt="2020-08-11T19:14:46.048" v="353" actId="113"/>
          <ac:graphicFrameMkLst>
            <pc:docMk/>
            <pc:sldMk cId="3310687531" sldId="1134"/>
            <ac:graphicFrameMk id="9" creationId="{EDA35A6A-F0D3-2048-9F51-ECB2432A8458}"/>
          </ac:graphicFrameMkLst>
        </pc:graphicFrameChg>
      </pc:sldChg>
      <pc:sldChg chg="modSp">
        <pc:chgData name="Laura Smith (DCP)" userId="04d996ad-c8c0-4279-84c0-115ebcf63bba" providerId="ADAL" clId="{D845F3BD-F151-4A95-BEE2-F49DB741D04E}" dt="2020-08-11T23:00:54.924" v="3782" actId="14100"/>
        <pc:sldMkLst>
          <pc:docMk/>
          <pc:sldMk cId="2319426148" sldId="1139"/>
        </pc:sldMkLst>
        <pc:spChg chg="mod">
          <ac:chgData name="Laura Smith (DCP)" userId="04d996ad-c8c0-4279-84c0-115ebcf63bba" providerId="ADAL" clId="{D845F3BD-F151-4A95-BEE2-F49DB741D04E}" dt="2020-08-11T23:00:54.924" v="3782" actId="14100"/>
          <ac:spMkLst>
            <pc:docMk/>
            <pc:sldMk cId="2319426148" sldId="1139"/>
            <ac:spMk id="6" creationId="{6112D5FE-E18B-6A43-BA78-7662CB7AF3D1}"/>
          </ac:spMkLst>
        </pc:spChg>
        <pc:graphicFrameChg chg="mod">
          <ac:chgData name="Laura Smith (DCP)" userId="04d996ad-c8c0-4279-84c0-115ebcf63bba" providerId="ADAL" clId="{D845F3BD-F151-4A95-BEE2-F49DB741D04E}" dt="2020-08-11T23:00:51.182" v="3781" actId="14100"/>
          <ac:graphicFrameMkLst>
            <pc:docMk/>
            <pc:sldMk cId="2319426148" sldId="1139"/>
            <ac:graphicFrameMk id="3" creationId="{B04BA787-2DCD-4FEF-B991-04FF6BCE53D9}"/>
          </ac:graphicFrameMkLst>
        </pc:graphicFrameChg>
      </pc:sldChg>
    </pc:docChg>
  </pc:docChgLst>
  <pc:docChgLst>
    <pc:chgData name="Conor Clarke (DCP)" userId="821f5e7e-11e6-4f72-8e49-84592080ebf7" providerId="ADAL" clId="{06A21BD8-C190-405C-BB8C-D3D6827C777B}"/>
    <pc:docChg chg="custSel modSld">
      <pc:chgData name="Conor Clarke (DCP)" userId="821f5e7e-11e6-4f72-8e49-84592080ebf7" providerId="ADAL" clId="{06A21BD8-C190-405C-BB8C-D3D6827C777B}" dt="2020-08-11T20:42:55.032" v="24" actId="1038"/>
      <pc:docMkLst>
        <pc:docMk/>
      </pc:docMkLst>
      <pc:sldChg chg="addSp delSp modSp mod">
        <pc:chgData name="Conor Clarke (DCP)" userId="821f5e7e-11e6-4f72-8e49-84592080ebf7" providerId="ADAL" clId="{06A21BD8-C190-405C-BB8C-D3D6827C777B}" dt="2020-08-11T20:42:55.032" v="24" actId="1038"/>
        <pc:sldMkLst>
          <pc:docMk/>
          <pc:sldMk cId="828195153" sldId="1043"/>
        </pc:sldMkLst>
        <pc:spChg chg="del">
          <ac:chgData name="Conor Clarke (DCP)" userId="821f5e7e-11e6-4f72-8e49-84592080ebf7" providerId="ADAL" clId="{06A21BD8-C190-405C-BB8C-D3D6827C777B}" dt="2020-08-11T20:40:36.201" v="1" actId="478"/>
          <ac:spMkLst>
            <pc:docMk/>
            <pc:sldMk cId="828195153" sldId="1043"/>
            <ac:spMk id="3" creationId="{61ADA95D-C292-4B7A-95CE-F8F7ED8368E0}"/>
          </ac:spMkLst>
        </pc:spChg>
        <pc:graphicFrameChg chg="add mod">
          <ac:chgData name="Conor Clarke (DCP)" userId="821f5e7e-11e6-4f72-8e49-84592080ebf7" providerId="ADAL" clId="{06A21BD8-C190-405C-BB8C-D3D6827C777B}" dt="2020-08-11T20:41:14.857" v="7" actId="1076"/>
          <ac:graphicFrameMkLst>
            <pc:docMk/>
            <pc:sldMk cId="828195153" sldId="1043"/>
            <ac:graphicFrameMk id="12" creationId="{802258F7-1F4F-47BB-84F9-E80EF936F3C6}"/>
          </ac:graphicFrameMkLst>
        </pc:graphicFrameChg>
        <pc:graphicFrameChg chg="add mod">
          <ac:chgData name="Conor Clarke (DCP)" userId="821f5e7e-11e6-4f72-8e49-84592080ebf7" providerId="ADAL" clId="{06A21BD8-C190-405C-BB8C-D3D6827C777B}" dt="2020-08-11T20:42:50.318" v="15" actId="167"/>
          <ac:graphicFrameMkLst>
            <pc:docMk/>
            <pc:sldMk cId="828195153" sldId="1043"/>
            <ac:graphicFrameMk id="14" creationId="{3BF46655-8560-4111-A417-CD6086DEEFDA}"/>
          </ac:graphicFrameMkLst>
        </pc:graphicFrameChg>
        <pc:graphicFrameChg chg="del">
          <ac:chgData name="Conor Clarke (DCP)" userId="821f5e7e-11e6-4f72-8e49-84592080ebf7" providerId="ADAL" clId="{06A21BD8-C190-405C-BB8C-D3D6827C777B}" dt="2020-08-11T20:40:32.778" v="0" actId="478"/>
          <ac:graphicFrameMkLst>
            <pc:docMk/>
            <pc:sldMk cId="828195153" sldId="1043"/>
            <ac:graphicFrameMk id="15" creationId="{802258F7-1F4F-47BB-84F9-E80EF936F3C6}"/>
          </ac:graphicFrameMkLst>
        </pc:graphicFrameChg>
        <pc:graphicFrameChg chg="del">
          <ac:chgData name="Conor Clarke (DCP)" userId="821f5e7e-11e6-4f72-8e49-84592080ebf7" providerId="ADAL" clId="{06A21BD8-C190-405C-BB8C-D3D6827C777B}" dt="2020-08-11T20:41:52.893" v="8" actId="478"/>
          <ac:graphicFrameMkLst>
            <pc:docMk/>
            <pc:sldMk cId="828195153" sldId="1043"/>
            <ac:graphicFrameMk id="16" creationId="{3BF46655-8560-4111-A417-CD6086DEEFDA}"/>
          </ac:graphicFrameMkLst>
        </pc:graphicFrameChg>
        <pc:cxnChg chg="mod">
          <ac:chgData name="Conor Clarke (DCP)" userId="821f5e7e-11e6-4f72-8e49-84592080ebf7" providerId="ADAL" clId="{06A21BD8-C190-405C-BB8C-D3D6827C777B}" dt="2020-08-11T20:42:55.032" v="24" actId="1038"/>
          <ac:cxnSpMkLst>
            <pc:docMk/>
            <pc:sldMk cId="828195153" sldId="1043"/>
            <ac:cxnSpMk id="13" creationId="{EC763169-086F-6C43-ABAE-6673F1A3C2F5}"/>
          </ac:cxnSpMkLst>
        </pc:cxnChg>
      </pc:sldChg>
    </pc:docChg>
  </pc:docChgLst>
  <pc:docChgLst>
    <pc:chgData name="Laura Smith (DCP)" userId="04d996ad-c8c0-4279-84c0-115ebcf63bba" providerId="ADAL" clId="{2F9E04AB-85CE-4B9A-A821-F536C6F35400}"/>
    <pc:docChg chg="undo custSel addSld delSld modSld sldOrd">
      <pc:chgData name="Laura Smith (DCP)" userId="04d996ad-c8c0-4279-84c0-115ebcf63bba" providerId="ADAL" clId="{2F9E04AB-85CE-4B9A-A821-F536C6F35400}" dt="2020-07-07T23:35:50.088" v="3811" actId="1592"/>
      <pc:docMkLst>
        <pc:docMk/>
      </pc:docMkLst>
      <pc:sldChg chg="delSp modSp">
        <pc:chgData name="Laura Smith (DCP)" userId="04d996ad-c8c0-4279-84c0-115ebcf63bba" providerId="ADAL" clId="{2F9E04AB-85CE-4B9A-A821-F536C6F35400}" dt="2020-07-07T23:24:12.224" v="3615" actId="20577"/>
        <pc:sldMkLst>
          <pc:docMk/>
          <pc:sldMk cId="3417640896" sldId="660"/>
        </pc:sldMkLst>
        <pc:spChg chg="mod">
          <ac:chgData name="Laura Smith (DCP)" userId="04d996ad-c8c0-4279-84c0-115ebcf63bba" providerId="ADAL" clId="{2F9E04AB-85CE-4B9A-A821-F536C6F35400}" dt="2020-07-07T23:24:12.224" v="3615" actId="20577"/>
          <ac:spMkLst>
            <pc:docMk/>
            <pc:sldMk cId="3417640896" sldId="660"/>
            <ac:spMk id="3" creationId="{D2AC686F-77B0-4B98-9400-AE95D8E98FF4}"/>
          </ac:spMkLst>
        </pc:spChg>
        <pc:spChg chg="del">
          <ac:chgData name="Laura Smith (DCP)" userId="04d996ad-c8c0-4279-84c0-115ebcf63bba" providerId="ADAL" clId="{2F9E04AB-85CE-4B9A-A821-F536C6F35400}" dt="2020-07-07T23:00:22.961" v="2640" actId="478"/>
          <ac:spMkLst>
            <pc:docMk/>
            <pc:sldMk cId="3417640896" sldId="660"/>
            <ac:spMk id="5" creationId="{E2ECBBFC-DC1C-4FA2-904D-F3318A42E300}"/>
          </ac:spMkLst>
        </pc:spChg>
      </pc:sldChg>
      <pc:sldChg chg="delSp modSp">
        <pc:chgData name="Laura Smith (DCP)" userId="04d996ad-c8c0-4279-84c0-115ebcf63bba" providerId="ADAL" clId="{2F9E04AB-85CE-4B9A-A821-F536C6F35400}" dt="2020-07-07T22:54:35.297" v="2288" actId="20577"/>
        <pc:sldMkLst>
          <pc:docMk/>
          <pc:sldMk cId="4030096002" sldId="691"/>
        </pc:sldMkLst>
        <pc:spChg chg="mod">
          <ac:chgData name="Laura Smith (DCP)" userId="04d996ad-c8c0-4279-84c0-115ebcf63bba" providerId="ADAL" clId="{2F9E04AB-85CE-4B9A-A821-F536C6F35400}" dt="2020-07-07T22:54:35.297" v="2288" actId="20577"/>
          <ac:spMkLst>
            <pc:docMk/>
            <pc:sldMk cId="4030096002" sldId="691"/>
            <ac:spMk id="3" creationId="{D2AC686F-77B0-4B98-9400-AE95D8E98FF4}"/>
          </ac:spMkLst>
        </pc:spChg>
        <pc:spChg chg="del">
          <ac:chgData name="Laura Smith (DCP)" userId="04d996ad-c8c0-4279-84c0-115ebcf63bba" providerId="ADAL" clId="{2F9E04AB-85CE-4B9A-A821-F536C6F35400}" dt="2020-07-07T22:54:29.698" v="2279" actId="478"/>
          <ac:spMkLst>
            <pc:docMk/>
            <pc:sldMk cId="4030096002" sldId="691"/>
            <ac:spMk id="5" creationId="{762A9D83-0189-4F63-8F18-CFE47BA58054}"/>
          </ac:spMkLst>
        </pc:spChg>
      </pc:sldChg>
      <pc:sldChg chg="delSp modSp">
        <pc:chgData name="Laura Smith (DCP)" userId="04d996ad-c8c0-4279-84c0-115ebcf63bba" providerId="ADAL" clId="{2F9E04AB-85CE-4B9A-A821-F536C6F35400}" dt="2020-07-07T21:00:12.314" v="98"/>
        <pc:sldMkLst>
          <pc:docMk/>
          <pc:sldMk cId="1519931681" sldId="923"/>
        </pc:sldMkLst>
        <pc:spChg chg="del mod">
          <ac:chgData name="Laura Smith (DCP)" userId="04d996ad-c8c0-4279-84c0-115ebcf63bba" providerId="ADAL" clId="{2F9E04AB-85CE-4B9A-A821-F536C6F35400}" dt="2020-07-07T20:59:16.461" v="86" actId="478"/>
          <ac:spMkLst>
            <pc:docMk/>
            <pc:sldMk cId="1519931681" sldId="923"/>
            <ac:spMk id="5" creationId="{2AC9A3BE-D2F7-F34F-845E-6A51F3514E23}"/>
          </ac:spMkLst>
        </pc:spChg>
        <pc:spChg chg="mod">
          <ac:chgData name="Laura Smith (DCP)" userId="04d996ad-c8c0-4279-84c0-115ebcf63bba" providerId="ADAL" clId="{2F9E04AB-85CE-4B9A-A821-F536C6F35400}" dt="2020-07-07T21:00:12.314" v="98"/>
          <ac:spMkLst>
            <pc:docMk/>
            <pc:sldMk cId="1519931681" sldId="923"/>
            <ac:spMk id="25" creationId="{13B87C1F-74FA-7648-A5E7-2CB01BB275C1}"/>
          </ac:spMkLst>
        </pc:spChg>
      </pc:sldChg>
      <pc:sldChg chg="modSp delCm">
        <pc:chgData name="Laura Smith (DCP)" userId="04d996ad-c8c0-4279-84c0-115ebcf63bba" providerId="ADAL" clId="{2F9E04AB-85CE-4B9A-A821-F536C6F35400}" dt="2020-07-07T23:10:16.020" v="2987" actId="1592"/>
        <pc:sldMkLst>
          <pc:docMk/>
          <pc:sldMk cId="3893609620" sldId="945"/>
        </pc:sldMkLst>
        <pc:spChg chg="mod">
          <ac:chgData name="Laura Smith (DCP)" userId="04d996ad-c8c0-4279-84c0-115ebcf63bba" providerId="ADAL" clId="{2F9E04AB-85CE-4B9A-A821-F536C6F35400}" dt="2020-07-07T23:10:08.642" v="2986" actId="20577"/>
          <ac:spMkLst>
            <pc:docMk/>
            <pc:sldMk cId="3893609620" sldId="945"/>
            <ac:spMk id="11" creationId="{3D4BD243-6BB9-4167-91CA-D171B4EC2B79}"/>
          </ac:spMkLst>
        </pc:spChg>
      </pc:sldChg>
      <pc:sldChg chg="modSp">
        <pc:chgData name="Laura Smith (DCP)" userId="04d996ad-c8c0-4279-84c0-115ebcf63bba" providerId="ADAL" clId="{2F9E04AB-85CE-4B9A-A821-F536C6F35400}" dt="2020-07-07T23:11:05.408" v="2999" actId="20577"/>
        <pc:sldMkLst>
          <pc:docMk/>
          <pc:sldMk cId="592946348" sldId="970"/>
        </pc:sldMkLst>
        <pc:spChg chg="mod">
          <ac:chgData name="Laura Smith (DCP)" userId="04d996ad-c8c0-4279-84c0-115ebcf63bba" providerId="ADAL" clId="{2F9E04AB-85CE-4B9A-A821-F536C6F35400}" dt="2020-07-07T23:11:05.408" v="2999" actId="20577"/>
          <ac:spMkLst>
            <pc:docMk/>
            <pc:sldMk cId="592946348" sldId="970"/>
            <ac:spMk id="3" creationId="{A4C01C3F-C0B2-456F-B311-5C15E2D429E6}"/>
          </ac:spMkLst>
        </pc:spChg>
      </pc:sldChg>
      <pc:sldChg chg="modSp">
        <pc:chgData name="Laura Smith (DCP)" userId="04d996ad-c8c0-4279-84c0-115ebcf63bba" providerId="ADAL" clId="{2F9E04AB-85CE-4B9A-A821-F536C6F35400}" dt="2020-07-07T23:02:56.433" v="2763" actId="14100"/>
        <pc:sldMkLst>
          <pc:docMk/>
          <pc:sldMk cId="1905173972" sldId="1021"/>
        </pc:sldMkLst>
        <pc:graphicFrameChg chg="mod">
          <ac:chgData name="Laura Smith (DCP)" userId="04d996ad-c8c0-4279-84c0-115ebcf63bba" providerId="ADAL" clId="{2F9E04AB-85CE-4B9A-A821-F536C6F35400}" dt="2020-07-07T23:02:56.433" v="2763" actId="14100"/>
          <ac:graphicFrameMkLst>
            <pc:docMk/>
            <pc:sldMk cId="1905173972" sldId="1021"/>
            <ac:graphicFrameMk id="20" creationId="{ABDA0456-7318-47A9-96BE-520D8CD1B3DC}"/>
          </ac:graphicFrameMkLst>
        </pc:graphicFrameChg>
      </pc:sldChg>
      <pc:sldChg chg="modSp">
        <pc:chgData name="Laura Smith (DCP)" userId="04d996ad-c8c0-4279-84c0-115ebcf63bba" providerId="ADAL" clId="{2F9E04AB-85CE-4B9A-A821-F536C6F35400}" dt="2020-07-07T22:56:50.851" v="2516" actId="20577"/>
        <pc:sldMkLst>
          <pc:docMk/>
          <pc:sldMk cId="1155418492" sldId="1026"/>
        </pc:sldMkLst>
        <pc:spChg chg="mod">
          <ac:chgData name="Laura Smith (DCP)" userId="04d996ad-c8c0-4279-84c0-115ebcf63bba" providerId="ADAL" clId="{2F9E04AB-85CE-4B9A-A821-F536C6F35400}" dt="2020-07-07T22:56:50.851" v="2516" actId="20577"/>
          <ac:spMkLst>
            <pc:docMk/>
            <pc:sldMk cId="1155418492" sldId="1026"/>
            <ac:spMk id="6" creationId="{6112D5FE-E18B-6A43-BA78-7662CB7AF3D1}"/>
          </ac:spMkLst>
        </pc:spChg>
      </pc:sldChg>
      <pc:sldChg chg="modSp delCm">
        <pc:chgData name="Laura Smith (DCP)" userId="04d996ad-c8c0-4279-84c0-115ebcf63bba" providerId="ADAL" clId="{2F9E04AB-85CE-4B9A-A821-F536C6F35400}" dt="2020-07-07T23:10:50.552" v="2991" actId="1592"/>
        <pc:sldMkLst>
          <pc:docMk/>
          <pc:sldMk cId="1049441131" sldId="1040"/>
        </pc:sldMkLst>
        <pc:spChg chg="mod">
          <ac:chgData name="Laura Smith (DCP)" userId="04d996ad-c8c0-4279-84c0-115ebcf63bba" providerId="ADAL" clId="{2F9E04AB-85CE-4B9A-A821-F536C6F35400}" dt="2020-07-07T23:10:48.053" v="2990" actId="6549"/>
          <ac:spMkLst>
            <pc:docMk/>
            <pc:sldMk cId="1049441131" sldId="1040"/>
            <ac:spMk id="8" creationId="{B4306CB6-AC48-1546-B565-FD067D80C14C}"/>
          </ac:spMkLst>
        </pc:spChg>
      </pc:sldChg>
      <pc:sldChg chg="delSp">
        <pc:chgData name="Laura Smith (DCP)" userId="04d996ad-c8c0-4279-84c0-115ebcf63bba" providerId="ADAL" clId="{2F9E04AB-85CE-4B9A-A821-F536C6F35400}" dt="2020-07-07T21:01:41.527" v="101" actId="478"/>
        <pc:sldMkLst>
          <pc:docMk/>
          <pc:sldMk cId="828195153" sldId="1043"/>
        </pc:sldMkLst>
        <pc:spChg chg="del">
          <ac:chgData name="Laura Smith (DCP)" userId="04d996ad-c8c0-4279-84c0-115ebcf63bba" providerId="ADAL" clId="{2F9E04AB-85CE-4B9A-A821-F536C6F35400}" dt="2020-07-07T21:01:41.527" v="101" actId="478"/>
          <ac:spMkLst>
            <pc:docMk/>
            <pc:sldMk cId="828195153" sldId="1043"/>
            <ac:spMk id="14" creationId="{C211C390-EF35-45D9-9B8C-603180791333}"/>
          </ac:spMkLst>
        </pc:spChg>
      </pc:sldChg>
      <pc:sldChg chg="modSp">
        <pc:chgData name="Laura Smith (DCP)" userId="04d996ad-c8c0-4279-84c0-115ebcf63bba" providerId="ADAL" clId="{2F9E04AB-85CE-4B9A-A821-F536C6F35400}" dt="2020-07-07T22:53:59.776" v="2268" actId="20577"/>
        <pc:sldMkLst>
          <pc:docMk/>
          <pc:sldMk cId="3166193320" sldId="1044"/>
        </pc:sldMkLst>
        <pc:spChg chg="mod">
          <ac:chgData name="Laura Smith (DCP)" userId="04d996ad-c8c0-4279-84c0-115ebcf63bba" providerId="ADAL" clId="{2F9E04AB-85CE-4B9A-A821-F536C6F35400}" dt="2020-07-07T22:53:59.776" v="2268" actId="20577"/>
          <ac:spMkLst>
            <pc:docMk/>
            <pc:sldMk cId="3166193320" sldId="1044"/>
            <ac:spMk id="3" creationId="{A4C01C3F-C0B2-456F-B311-5C15E2D429E6}"/>
          </ac:spMkLst>
        </pc:spChg>
      </pc:sldChg>
      <pc:sldChg chg="modSp">
        <pc:chgData name="Laura Smith (DCP)" userId="04d996ad-c8c0-4279-84c0-115ebcf63bba" providerId="ADAL" clId="{2F9E04AB-85CE-4B9A-A821-F536C6F35400}" dt="2020-07-07T22:58:59.663" v="2582" actId="20577"/>
        <pc:sldMkLst>
          <pc:docMk/>
          <pc:sldMk cId="2415737977" sldId="1063"/>
        </pc:sldMkLst>
        <pc:spChg chg="mod">
          <ac:chgData name="Laura Smith (DCP)" userId="04d996ad-c8c0-4279-84c0-115ebcf63bba" providerId="ADAL" clId="{2F9E04AB-85CE-4B9A-A821-F536C6F35400}" dt="2020-07-07T22:58:59.663" v="2582" actId="20577"/>
          <ac:spMkLst>
            <pc:docMk/>
            <pc:sldMk cId="2415737977" sldId="1063"/>
            <ac:spMk id="2" creationId="{34067B45-0477-41C4-847B-3BFADB14672F}"/>
          </ac:spMkLst>
        </pc:spChg>
        <pc:spChg chg="mod">
          <ac:chgData name="Laura Smith (DCP)" userId="04d996ad-c8c0-4279-84c0-115ebcf63bba" providerId="ADAL" clId="{2F9E04AB-85CE-4B9A-A821-F536C6F35400}" dt="2020-07-07T22:58:10.951" v="2529" actId="6549"/>
          <ac:spMkLst>
            <pc:docMk/>
            <pc:sldMk cId="2415737977" sldId="1063"/>
            <ac:spMk id="20" creationId="{F5A93634-EFB0-4F1D-8EB9-1AD5FF7384D9}"/>
          </ac:spMkLst>
        </pc:spChg>
      </pc:sldChg>
    </pc:docChg>
  </pc:docChgLst>
  <pc:docChgLst>
    <pc:chgData name="Le Zhang (DCP)" userId="4093b8df-c45f-452e-86ba-4cdd8d4ea262" providerId="ADAL" clId="{CC8A5513-FEFD-4201-9CCD-CE743D6A2690}"/>
    <pc:docChg chg="undo custSel modSld">
      <pc:chgData name="Le Zhang (DCP)" userId="4093b8df-c45f-452e-86ba-4cdd8d4ea262" providerId="ADAL" clId="{CC8A5513-FEFD-4201-9CCD-CE743D6A2690}" dt="2020-07-07T18:16:06.739" v="116" actId="14100"/>
      <pc:docMkLst>
        <pc:docMk/>
      </pc:docMkLst>
      <pc:sldChg chg="addSp delSp modSp mod">
        <pc:chgData name="Le Zhang (DCP)" userId="4093b8df-c45f-452e-86ba-4cdd8d4ea262" providerId="ADAL" clId="{CC8A5513-FEFD-4201-9CCD-CE743D6A2690}" dt="2020-07-07T18:16:06.739" v="116" actId="14100"/>
        <pc:sldMkLst>
          <pc:docMk/>
          <pc:sldMk cId="3893609620" sldId="945"/>
        </pc:sldMkLst>
        <pc:spChg chg="del">
          <ac:chgData name="Le Zhang (DCP)" userId="4093b8df-c45f-452e-86ba-4cdd8d4ea262" providerId="ADAL" clId="{CC8A5513-FEFD-4201-9CCD-CE743D6A2690}" dt="2020-07-07T17:31:55.999" v="4" actId="478"/>
          <ac:spMkLst>
            <pc:docMk/>
            <pc:sldMk cId="3893609620" sldId="945"/>
            <ac:spMk id="3" creationId="{C0CDD3B0-466C-4398-835C-C7BEF8FF8787}"/>
          </ac:spMkLst>
        </pc:spChg>
        <pc:spChg chg="mod">
          <ac:chgData name="Le Zhang (DCP)" userId="4093b8df-c45f-452e-86ba-4cdd8d4ea262" providerId="ADAL" clId="{CC8A5513-FEFD-4201-9CCD-CE743D6A2690}" dt="2020-07-07T17:32:50.224" v="38" actId="20577"/>
          <ac:spMkLst>
            <pc:docMk/>
            <pc:sldMk cId="3893609620" sldId="945"/>
            <ac:spMk id="6" creationId="{B249ACEC-CFA3-48F7-AD3E-A64382D7FA85}"/>
          </ac:spMkLst>
        </pc:spChg>
        <pc:spChg chg="del mod ord">
          <ac:chgData name="Le Zhang (DCP)" userId="4093b8df-c45f-452e-86ba-4cdd8d4ea262" providerId="ADAL" clId="{CC8A5513-FEFD-4201-9CCD-CE743D6A2690}" dt="2020-07-07T17:32:38.639" v="11" actId="478"/>
          <ac:spMkLst>
            <pc:docMk/>
            <pc:sldMk cId="3893609620" sldId="945"/>
            <ac:spMk id="17" creationId="{D4C1C849-D10F-44B3-8CEB-6B3908E5E0D6}"/>
          </ac:spMkLst>
        </pc:spChg>
        <pc:spChg chg="add">
          <ac:chgData name="Le Zhang (DCP)" userId="4093b8df-c45f-452e-86ba-4cdd8d4ea262" providerId="ADAL" clId="{CC8A5513-FEFD-4201-9CCD-CE743D6A2690}" dt="2020-07-07T17:32:27.103" v="7"/>
          <ac:spMkLst>
            <pc:docMk/>
            <pc:sldMk cId="3893609620" sldId="945"/>
            <ac:spMk id="18" creationId="{4B400C07-9027-4C73-9C4E-038FC4557A14}"/>
          </ac:spMkLst>
        </pc:spChg>
        <pc:spChg chg="mod">
          <ac:chgData name="Le Zhang (DCP)" userId="4093b8df-c45f-452e-86ba-4cdd8d4ea262" providerId="ADAL" clId="{CC8A5513-FEFD-4201-9CCD-CE743D6A2690}" dt="2020-07-07T18:09:53.088" v="71" actId="1076"/>
          <ac:spMkLst>
            <pc:docMk/>
            <pc:sldMk cId="3893609620" sldId="945"/>
            <ac:spMk id="29" creationId="{173B2FFE-0BA3-4530-9382-3A016A5A9F71}"/>
          </ac:spMkLst>
        </pc:spChg>
        <pc:spChg chg="mod">
          <ac:chgData name="Le Zhang (DCP)" userId="4093b8df-c45f-452e-86ba-4cdd8d4ea262" providerId="ADAL" clId="{CC8A5513-FEFD-4201-9CCD-CE743D6A2690}" dt="2020-07-07T18:09:55.340" v="72" actId="1076"/>
          <ac:spMkLst>
            <pc:docMk/>
            <pc:sldMk cId="3893609620" sldId="945"/>
            <ac:spMk id="30" creationId="{94EFE761-FD16-48E0-933F-AD68746AB657}"/>
          </ac:spMkLst>
        </pc:spChg>
        <pc:spChg chg="mod">
          <ac:chgData name="Le Zhang (DCP)" userId="4093b8df-c45f-452e-86ba-4cdd8d4ea262" providerId="ADAL" clId="{CC8A5513-FEFD-4201-9CCD-CE743D6A2690}" dt="2020-07-07T18:07:45.569" v="51" actId="1076"/>
          <ac:spMkLst>
            <pc:docMk/>
            <pc:sldMk cId="3893609620" sldId="945"/>
            <ac:spMk id="31" creationId="{0BF07143-E56E-40FA-9849-54DC7832BB78}"/>
          </ac:spMkLst>
        </pc:spChg>
        <pc:spChg chg="mod">
          <ac:chgData name="Le Zhang (DCP)" userId="4093b8df-c45f-452e-86ba-4cdd8d4ea262" providerId="ADAL" clId="{CC8A5513-FEFD-4201-9CCD-CE743D6A2690}" dt="2020-07-07T18:08:03.070" v="54" actId="1076"/>
          <ac:spMkLst>
            <pc:docMk/>
            <pc:sldMk cId="3893609620" sldId="945"/>
            <ac:spMk id="32" creationId="{4A9D15F8-3390-45AE-BEF1-6CD30E8208A6}"/>
          </ac:spMkLst>
        </pc:spChg>
        <pc:spChg chg="mod">
          <ac:chgData name="Le Zhang (DCP)" userId="4093b8df-c45f-452e-86ba-4cdd8d4ea262" providerId="ADAL" clId="{CC8A5513-FEFD-4201-9CCD-CE743D6A2690}" dt="2020-07-07T18:09:45.847" v="69" actId="1076"/>
          <ac:spMkLst>
            <pc:docMk/>
            <pc:sldMk cId="3893609620" sldId="945"/>
            <ac:spMk id="33" creationId="{6940218C-8629-4C01-8501-CC380A5F2E2B}"/>
          </ac:spMkLst>
        </pc:spChg>
        <pc:spChg chg="mod">
          <ac:chgData name="Le Zhang (DCP)" userId="4093b8df-c45f-452e-86ba-4cdd8d4ea262" providerId="ADAL" clId="{CC8A5513-FEFD-4201-9CCD-CE743D6A2690}" dt="2020-07-07T18:12:06.292" v="102" actId="1076"/>
          <ac:spMkLst>
            <pc:docMk/>
            <pc:sldMk cId="3893609620" sldId="945"/>
            <ac:spMk id="34" creationId="{EB37EFAB-7DC3-4863-959A-C09E68B63594}"/>
          </ac:spMkLst>
        </pc:spChg>
        <pc:spChg chg="mod">
          <ac:chgData name="Le Zhang (DCP)" userId="4093b8df-c45f-452e-86ba-4cdd8d4ea262" providerId="ADAL" clId="{CC8A5513-FEFD-4201-9CCD-CE743D6A2690}" dt="2020-07-07T18:12:17.338" v="103" actId="1076"/>
          <ac:spMkLst>
            <pc:docMk/>
            <pc:sldMk cId="3893609620" sldId="945"/>
            <ac:spMk id="35" creationId="{4C2FC8C1-9DF4-40FB-89A2-1816329ABBD9}"/>
          </ac:spMkLst>
        </pc:spChg>
        <pc:spChg chg="mod">
          <ac:chgData name="Le Zhang (DCP)" userId="4093b8df-c45f-452e-86ba-4cdd8d4ea262" providerId="ADAL" clId="{CC8A5513-FEFD-4201-9CCD-CE743D6A2690}" dt="2020-07-07T18:10:10.318" v="73" actId="1076"/>
          <ac:spMkLst>
            <pc:docMk/>
            <pc:sldMk cId="3893609620" sldId="945"/>
            <ac:spMk id="36" creationId="{91785D03-5D68-4D25-862A-E3F2301EBE56}"/>
          </ac:spMkLst>
        </pc:spChg>
        <pc:spChg chg="add mod">
          <ac:chgData name="Le Zhang (DCP)" userId="4093b8df-c45f-452e-86ba-4cdd8d4ea262" providerId="ADAL" clId="{CC8A5513-FEFD-4201-9CCD-CE743D6A2690}" dt="2020-07-07T18:12:43.261" v="107" actId="164"/>
          <ac:spMkLst>
            <pc:docMk/>
            <pc:sldMk cId="3893609620" sldId="945"/>
            <ac:spMk id="41" creationId="{8538FE93-CF23-4E03-BE74-1671044A75D8}"/>
          </ac:spMkLst>
        </pc:spChg>
        <pc:grpChg chg="add mod">
          <ac:chgData name="Le Zhang (DCP)" userId="4093b8df-c45f-452e-86ba-4cdd8d4ea262" providerId="ADAL" clId="{CC8A5513-FEFD-4201-9CCD-CE743D6A2690}" dt="2020-07-07T18:12:43.261" v="107" actId="164"/>
          <ac:grpSpMkLst>
            <pc:docMk/>
            <pc:sldMk cId="3893609620" sldId="945"/>
            <ac:grpSpMk id="3" creationId="{0D0C721A-3082-4253-B8C5-C98D95E2E26E}"/>
          </ac:grpSpMkLst>
        </pc:grpChg>
        <pc:grpChg chg="add mod">
          <ac:chgData name="Le Zhang (DCP)" userId="4093b8df-c45f-452e-86ba-4cdd8d4ea262" providerId="ADAL" clId="{CC8A5513-FEFD-4201-9CCD-CE743D6A2690}" dt="2020-07-07T18:12:43.261" v="107" actId="164"/>
          <ac:grpSpMkLst>
            <pc:docMk/>
            <pc:sldMk cId="3893609620" sldId="945"/>
            <ac:grpSpMk id="7" creationId="{EBC397E9-2039-4439-8950-6A823402C1B9}"/>
          </ac:grpSpMkLst>
        </pc:grpChg>
        <pc:grpChg chg="add mod">
          <ac:chgData name="Le Zhang (DCP)" userId="4093b8df-c45f-452e-86ba-4cdd8d4ea262" providerId="ADAL" clId="{CC8A5513-FEFD-4201-9CCD-CE743D6A2690}" dt="2020-07-07T18:16:06.739" v="116" actId="14100"/>
          <ac:grpSpMkLst>
            <pc:docMk/>
            <pc:sldMk cId="3893609620" sldId="945"/>
            <ac:grpSpMk id="8" creationId="{5B692D7E-E7A2-4F13-8966-0BFDE2B1B8A6}"/>
          </ac:grpSpMkLst>
        </pc:grpChg>
        <pc:grpChg chg="add del mod">
          <ac:chgData name="Le Zhang (DCP)" userId="4093b8df-c45f-452e-86ba-4cdd8d4ea262" providerId="ADAL" clId="{CC8A5513-FEFD-4201-9CCD-CE743D6A2690}" dt="2020-07-07T18:10:51.530" v="78" actId="478"/>
          <ac:grpSpMkLst>
            <pc:docMk/>
            <pc:sldMk cId="3893609620" sldId="945"/>
            <ac:grpSpMk id="19" creationId="{96B6C8E6-C5AF-4483-9F03-F97A5AB7D1BB}"/>
          </ac:grpSpMkLst>
        </pc:grpChg>
        <pc:grpChg chg="mod ord">
          <ac:chgData name="Le Zhang (DCP)" userId="4093b8df-c45f-452e-86ba-4cdd8d4ea262" providerId="ADAL" clId="{CC8A5513-FEFD-4201-9CCD-CE743D6A2690}" dt="2020-07-07T18:12:48.568" v="108" actId="164"/>
          <ac:grpSpMkLst>
            <pc:docMk/>
            <pc:sldMk cId="3893609620" sldId="945"/>
            <ac:grpSpMk id="21" creationId="{D731847C-4DBE-4AE5-B7E7-BC7A44AC83FE}"/>
          </ac:grpSpMkLst>
        </pc:grpChg>
        <pc:grpChg chg="del">
          <ac:chgData name="Le Zhang (DCP)" userId="4093b8df-c45f-452e-86ba-4cdd8d4ea262" providerId="ADAL" clId="{CC8A5513-FEFD-4201-9CCD-CE743D6A2690}" dt="2020-07-07T17:31:50.528" v="1" actId="478"/>
          <ac:grpSpMkLst>
            <pc:docMk/>
            <pc:sldMk cId="3893609620" sldId="945"/>
            <ac:grpSpMk id="22" creationId="{5AA3A914-D263-40F4-B925-7E996577A4C5}"/>
          </ac:grpSpMkLst>
        </pc:grpChg>
        <pc:grpChg chg="add mod ord">
          <ac:chgData name="Le Zhang (DCP)" userId="4093b8df-c45f-452e-86ba-4cdd8d4ea262" providerId="ADAL" clId="{CC8A5513-FEFD-4201-9CCD-CE743D6A2690}" dt="2020-07-07T18:12:27.540" v="104" actId="164"/>
          <ac:grpSpMkLst>
            <pc:docMk/>
            <pc:sldMk cId="3893609620" sldId="945"/>
            <ac:grpSpMk id="25" creationId="{5BABA797-0DCD-4E58-9609-E0B0D33B5F04}"/>
          </ac:grpSpMkLst>
        </pc:grpChg>
        <pc:grpChg chg="del mod">
          <ac:chgData name="Le Zhang (DCP)" userId="4093b8df-c45f-452e-86ba-4cdd8d4ea262" providerId="ADAL" clId="{CC8A5513-FEFD-4201-9CCD-CE743D6A2690}" dt="2020-07-07T18:05:24.212" v="39" actId="478"/>
          <ac:grpSpMkLst>
            <pc:docMk/>
            <pc:sldMk cId="3893609620" sldId="945"/>
            <ac:grpSpMk id="26" creationId="{8B03C458-0392-4C67-B7C6-B295CBC8DEED}"/>
          </ac:grpSpMkLst>
        </pc:grpChg>
        <pc:grpChg chg="mod">
          <ac:chgData name="Le Zhang (DCP)" userId="4093b8df-c45f-452e-86ba-4cdd8d4ea262" providerId="ADAL" clId="{CC8A5513-FEFD-4201-9CCD-CE743D6A2690}" dt="2020-07-07T18:05:24.212" v="39" actId="478"/>
          <ac:grpSpMkLst>
            <pc:docMk/>
            <pc:sldMk cId="3893609620" sldId="945"/>
            <ac:grpSpMk id="38" creationId="{A148A6BF-0FCB-402E-92DF-B905255AB259}"/>
          </ac:grpSpMkLst>
        </pc:grpChg>
        <pc:grpChg chg="del">
          <ac:chgData name="Le Zhang (DCP)" userId="4093b8df-c45f-452e-86ba-4cdd8d4ea262" providerId="ADAL" clId="{CC8A5513-FEFD-4201-9CCD-CE743D6A2690}" dt="2020-07-07T17:31:52.159" v="2" actId="478"/>
          <ac:grpSpMkLst>
            <pc:docMk/>
            <pc:sldMk cId="3893609620" sldId="945"/>
            <ac:grpSpMk id="56" creationId="{22FADA5D-4B20-4C99-A096-2BD4387465F0}"/>
          </ac:grpSpMkLst>
        </pc:grpChg>
        <pc:graphicFrameChg chg="del">
          <ac:chgData name="Le Zhang (DCP)" userId="4093b8df-c45f-452e-86ba-4cdd8d4ea262" providerId="ADAL" clId="{CC8A5513-FEFD-4201-9CCD-CE743D6A2690}" dt="2020-07-07T18:10:51.530" v="78" actId="478"/>
          <ac:graphicFrameMkLst>
            <pc:docMk/>
            <pc:sldMk cId="3893609620" sldId="945"/>
            <ac:graphicFrameMk id="20" creationId="{FBD3EB43-29FD-400D-858B-DC51E9D120D6}"/>
          </ac:graphicFrameMkLst>
        </pc:graphicFrameChg>
        <pc:graphicFrameChg chg="add mod">
          <ac:chgData name="Le Zhang (DCP)" userId="4093b8df-c45f-452e-86ba-4cdd8d4ea262" providerId="ADAL" clId="{CC8A5513-FEFD-4201-9CCD-CE743D6A2690}" dt="2020-07-07T18:12:27.540" v="104" actId="164"/>
          <ac:graphicFrameMkLst>
            <pc:docMk/>
            <pc:sldMk cId="3893609620" sldId="945"/>
            <ac:graphicFrameMk id="28" creationId="{B5C1112F-4DEC-4BBF-B66C-BD9D7E491B5B}"/>
          </ac:graphicFrameMkLst>
        </pc:graphicFrameChg>
        <pc:graphicFrameChg chg="del">
          <ac:chgData name="Le Zhang (DCP)" userId="4093b8df-c45f-452e-86ba-4cdd8d4ea262" providerId="ADAL" clId="{CC8A5513-FEFD-4201-9CCD-CE743D6A2690}" dt="2020-07-07T18:05:24.212" v="39" actId="478"/>
          <ac:graphicFrameMkLst>
            <pc:docMk/>
            <pc:sldMk cId="3893609620" sldId="945"/>
            <ac:graphicFrameMk id="37" creationId="{4FF63CFA-447F-4599-B079-2B7303F16969}"/>
          </ac:graphicFrameMkLst>
        </pc:graphicFrameChg>
        <pc:graphicFrameChg chg="add mod">
          <ac:chgData name="Le Zhang (DCP)" userId="4093b8df-c45f-452e-86ba-4cdd8d4ea262" providerId="ADAL" clId="{CC8A5513-FEFD-4201-9CCD-CE743D6A2690}" dt="2020-07-07T18:16:06.739" v="116" actId="14100"/>
          <ac:graphicFrameMkLst>
            <pc:docMk/>
            <pc:sldMk cId="3893609620" sldId="945"/>
            <ac:graphicFrameMk id="42" creationId="{A0807E5F-4857-4EC3-B4F6-C9AE10D6552D}"/>
          </ac:graphicFrameMkLst>
        </pc:graphicFrameChg>
        <pc:graphicFrameChg chg="del">
          <ac:chgData name="Le Zhang (DCP)" userId="4093b8df-c45f-452e-86ba-4cdd8d4ea262" providerId="ADAL" clId="{CC8A5513-FEFD-4201-9CCD-CE743D6A2690}" dt="2020-07-07T17:31:49.623" v="0" actId="478"/>
          <ac:graphicFrameMkLst>
            <pc:docMk/>
            <pc:sldMk cId="3893609620" sldId="945"/>
            <ac:graphicFrameMk id="60" creationId="{A0807E5F-4857-4EC3-B4F6-C9AE10D6552D}"/>
          </ac:graphicFrameMkLst>
        </pc:graphicFrameChg>
        <pc:cxnChg chg="mod">
          <ac:chgData name="Le Zhang (DCP)" userId="4093b8df-c45f-452e-86ba-4cdd8d4ea262" providerId="ADAL" clId="{CC8A5513-FEFD-4201-9CCD-CE743D6A2690}" dt="2020-07-07T18:09:11.979" v="64" actId="1076"/>
          <ac:cxnSpMkLst>
            <pc:docMk/>
            <pc:sldMk cId="3893609620" sldId="945"/>
            <ac:cxnSpMk id="39" creationId="{9EFFE4AE-851E-4579-9EFE-99E2D84194BA}"/>
          </ac:cxnSpMkLst>
        </pc:cxnChg>
      </pc:sldChg>
    </pc:docChg>
  </pc:docChgLst>
  <pc:docChgLst>
    <pc:chgData name="Fangnan Du (DCP)" userId="50de7b9d-879b-4fbd-a8e5-64ec99cdf932" providerId="ADAL" clId="{6F9312DB-5AEF-47FC-8C13-74B067DC1FE1}"/>
    <pc:docChg chg="undo custSel modSld">
      <pc:chgData name="Fangnan Du (DCP)" userId="50de7b9d-879b-4fbd-a8e5-64ec99cdf932" providerId="ADAL" clId="{6F9312DB-5AEF-47FC-8C13-74B067DC1FE1}" dt="2020-07-14T19:25:45.437" v="1008" actId="20577"/>
      <pc:docMkLst>
        <pc:docMk/>
      </pc:docMkLst>
      <pc:sldChg chg="delSp modSp mod">
        <pc:chgData name="Fangnan Du (DCP)" userId="50de7b9d-879b-4fbd-a8e5-64ec99cdf932" providerId="ADAL" clId="{6F9312DB-5AEF-47FC-8C13-74B067DC1FE1}" dt="2020-07-14T15:43:16.526" v="22" actId="27918"/>
        <pc:sldMkLst>
          <pc:docMk/>
          <pc:sldMk cId="1905173972" sldId="1021"/>
        </pc:sldMkLst>
        <pc:spChg chg="del mod">
          <ac:chgData name="Fangnan Du (DCP)" userId="50de7b9d-879b-4fbd-a8e5-64ec99cdf932" providerId="ADAL" clId="{6F9312DB-5AEF-47FC-8C13-74B067DC1FE1}" dt="2020-07-14T15:42:40.164" v="15" actId="478"/>
          <ac:spMkLst>
            <pc:docMk/>
            <pc:sldMk cId="1905173972" sldId="1021"/>
            <ac:spMk id="4" creationId="{AD623AB9-7FF3-4D8B-969D-F514FC343D1B}"/>
          </ac:spMkLst>
        </pc:spChg>
        <pc:graphicFrameChg chg="mod">
          <ac:chgData name="Fangnan Du (DCP)" userId="50de7b9d-879b-4fbd-a8e5-64ec99cdf932" providerId="ADAL" clId="{6F9312DB-5AEF-47FC-8C13-74B067DC1FE1}" dt="2020-07-14T15:42:57.231" v="19" actId="14100"/>
          <ac:graphicFrameMkLst>
            <pc:docMk/>
            <pc:sldMk cId="1905173972" sldId="1021"/>
            <ac:graphicFrameMk id="12" creationId="{E20C45EC-BE3F-467E-BF4C-DA873D893AC3}"/>
          </ac:graphicFrameMkLst>
        </pc:graphicFrameChg>
      </pc:sldChg>
    </pc:docChg>
  </pc:docChgLst>
  <pc:docChgLst>
    <pc:chgData name="Conor Clarke (DCP)" userId="821f5e7e-11e6-4f72-8e49-84592080ebf7" providerId="ADAL" clId="{1F0B48BD-40DB-4CA7-94E7-457972B881BC}"/>
    <pc:docChg chg="custSel modSld">
      <pc:chgData name="Conor Clarke (DCP)" userId="821f5e7e-11e6-4f72-8e49-84592080ebf7" providerId="ADAL" clId="{1F0B48BD-40DB-4CA7-94E7-457972B881BC}" dt="2020-07-13T21:19:32.639" v="17" actId="1076"/>
      <pc:docMkLst>
        <pc:docMk/>
      </pc:docMkLst>
      <pc:sldChg chg="addSp delSp modSp mod">
        <pc:chgData name="Conor Clarke (DCP)" userId="821f5e7e-11e6-4f72-8e49-84592080ebf7" providerId="ADAL" clId="{1F0B48BD-40DB-4CA7-94E7-457972B881BC}" dt="2020-07-13T21:19:32.639" v="17" actId="1076"/>
        <pc:sldMkLst>
          <pc:docMk/>
          <pc:sldMk cId="828195153" sldId="1043"/>
        </pc:sldMkLst>
        <pc:spChg chg="del">
          <ac:chgData name="Conor Clarke (DCP)" userId="821f5e7e-11e6-4f72-8e49-84592080ebf7" providerId="ADAL" clId="{1F0B48BD-40DB-4CA7-94E7-457972B881BC}" dt="2020-07-13T21:15:18.276" v="0" actId="478"/>
          <ac:spMkLst>
            <pc:docMk/>
            <pc:sldMk cId="828195153" sldId="1043"/>
            <ac:spMk id="14" creationId="{85702CA9-FB4C-4941-948B-07467D1DB7CB}"/>
          </ac:spMkLst>
        </pc:spChg>
        <pc:graphicFrameChg chg="del">
          <ac:chgData name="Conor Clarke (DCP)" userId="821f5e7e-11e6-4f72-8e49-84592080ebf7" providerId="ADAL" clId="{1F0B48BD-40DB-4CA7-94E7-457972B881BC}" dt="2020-07-13T21:16:53.542" v="1" actId="478"/>
          <ac:graphicFrameMkLst>
            <pc:docMk/>
            <pc:sldMk cId="828195153" sldId="1043"/>
            <ac:graphicFrameMk id="11" creationId="{802258F7-1F4F-47BB-84F9-E80EF936F3C6}"/>
          </ac:graphicFrameMkLst>
        </pc:graphicFrameChg>
        <pc:graphicFrameChg chg="del">
          <ac:chgData name="Conor Clarke (DCP)" userId="821f5e7e-11e6-4f72-8e49-84592080ebf7" providerId="ADAL" clId="{1F0B48BD-40DB-4CA7-94E7-457972B881BC}" dt="2020-07-13T21:18:35.024" v="8" actId="478"/>
          <ac:graphicFrameMkLst>
            <pc:docMk/>
            <pc:sldMk cId="828195153" sldId="1043"/>
            <ac:graphicFrameMk id="12" creationId="{3BF46655-8560-4111-A417-CD6086DEEFDA}"/>
          </ac:graphicFrameMkLst>
        </pc:graphicFrameChg>
        <pc:graphicFrameChg chg="add mod">
          <ac:chgData name="Conor Clarke (DCP)" userId="821f5e7e-11e6-4f72-8e49-84592080ebf7" providerId="ADAL" clId="{1F0B48BD-40DB-4CA7-94E7-457972B881BC}" dt="2020-07-13T21:17:25.156" v="7" actId="1076"/>
          <ac:graphicFrameMkLst>
            <pc:docMk/>
            <pc:sldMk cId="828195153" sldId="1043"/>
            <ac:graphicFrameMk id="15" creationId="{802258F7-1F4F-47BB-84F9-E80EF936F3C6}"/>
          </ac:graphicFrameMkLst>
        </pc:graphicFrameChg>
        <pc:graphicFrameChg chg="add mod">
          <ac:chgData name="Conor Clarke (DCP)" userId="821f5e7e-11e6-4f72-8e49-84592080ebf7" providerId="ADAL" clId="{1F0B48BD-40DB-4CA7-94E7-457972B881BC}" dt="2020-07-13T21:19:18.551" v="15" actId="167"/>
          <ac:graphicFrameMkLst>
            <pc:docMk/>
            <pc:sldMk cId="828195153" sldId="1043"/>
            <ac:graphicFrameMk id="16" creationId="{3BF46655-8560-4111-A417-CD6086DEEFDA}"/>
          </ac:graphicFrameMkLst>
        </pc:graphicFrameChg>
        <pc:cxnChg chg="mod">
          <ac:chgData name="Conor Clarke (DCP)" userId="821f5e7e-11e6-4f72-8e49-84592080ebf7" providerId="ADAL" clId="{1F0B48BD-40DB-4CA7-94E7-457972B881BC}" dt="2020-07-13T21:19:32.639" v="17" actId="1076"/>
          <ac:cxnSpMkLst>
            <pc:docMk/>
            <pc:sldMk cId="828195153" sldId="1043"/>
            <ac:cxnSpMk id="13" creationId="{EC763169-086F-6C43-ABAE-6673F1A3C2F5}"/>
          </ac:cxnSpMkLst>
        </pc:cxnChg>
      </pc:sldChg>
    </pc:docChg>
  </pc:docChgLst>
  <pc:docChgLst>
    <pc:chgData clId="Web-{1596AC32-09DB-55A4-0DD2-E81DF00072E5}"/>
    <pc:docChg chg="">
      <pc:chgData name="" userId="" providerId="" clId="Web-{1596AC32-09DB-55A4-0DD2-E81DF00072E5}" dt="2020-08-11T19:01:39.683" v="3"/>
      <pc:docMkLst>
        <pc:docMk/>
      </pc:docMkLst>
      <pc:sldChg chg="addCm">
        <pc:chgData name="" userId="" providerId="" clId="Web-{1596AC32-09DB-55A4-0DD2-E81DF00072E5}" dt="2020-08-11T18:59:42.761" v="2"/>
        <pc:sldMkLst>
          <pc:docMk/>
          <pc:sldMk cId="3417640896" sldId="660"/>
        </pc:sldMkLst>
      </pc:sldChg>
      <pc:sldChg chg="addCm">
        <pc:chgData name="" userId="" providerId="" clId="Web-{1596AC32-09DB-55A4-0DD2-E81DF00072E5}" dt="2020-08-11T18:58:35.088" v="1"/>
        <pc:sldMkLst>
          <pc:docMk/>
          <pc:sldMk cId="1519931681" sldId="923"/>
        </pc:sldMkLst>
      </pc:sldChg>
      <pc:sldChg chg="addCm">
        <pc:chgData name="" userId="" providerId="" clId="Web-{1596AC32-09DB-55A4-0DD2-E81DF00072E5}" dt="2020-08-11T19:01:39.683" v="3"/>
        <pc:sldMkLst>
          <pc:docMk/>
          <pc:sldMk cId="1905173972" sldId="1021"/>
        </pc:sldMkLst>
      </pc:sldChg>
      <pc:sldChg chg="addCm">
        <pc:chgData name="" userId="" providerId="" clId="Web-{1596AC32-09DB-55A4-0DD2-E81DF00072E5}" dt="2020-08-11T18:54:40.400" v="0"/>
        <pc:sldMkLst>
          <pc:docMk/>
          <pc:sldMk cId="423080654" sldId="1117"/>
        </pc:sldMkLst>
      </pc:sldChg>
    </pc:docChg>
  </pc:docChgLst>
  <pc:docChgLst>
    <pc:chgData name="Conor Clarke (DCP)" userId="821f5e7e-11e6-4f72-8e49-84592080ebf7" providerId="ADAL" clId="{E8B17DDD-27E2-49B3-8CAA-8F9CA8DB6561}"/>
    <pc:docChg chg="modSld">
      <pc:chgData name="Conor Clarke (DCP)" userId="821f5e7e-11e6-4f72-8e49-84592080ebf7" providerId="ADAL" clId="{E8B17DDD-27E2-49B3-8CAA-8F9CA8DB6561}" dt="2020-07-20T19:30:58.673" v="152" actId="20577"/>
      <pc:docMkLst>
        <pc:docMk/>
      </pc:docMkLst>
      <pc:sldChg chg="addSp delSp modSp mod">
        <pc:chgData name="Conor Clarke (DCP)" userId="821f5e7e-11e6-4f72-8e49-84592080ebf7" providerId="ADAL" clId="{E8B17DDD-27E2-49B3-8CAA-8F9CA8DB6561}" dt="2020-07-20T19:30:58.673" v="152" actId="20577"/>
        <pc:sldMkLst>
          <pc:docMk/>
          <pc:sldMk cId="828195153" sldId="1043"/>
        </pc:sldMkLst>
        <pc:spChg chg="mod">
          <ac:chgData name="Conor Clarke (DCP)" userId="821f5e7e-11e6-4f72-8e49-84592080ebf7" providerId="ADAL" clId="{E8B17DDD-27E2-49B3-8CAA-8F9CA8DB6561}" dt="2020-07-20T19:29:47.129" v="150" actId="20577"/>
          <ac:spMkLst>
            <pc:docMk/>
            <pc:sldMk cId="828195153" sldId="1043"/>
            <ac:spMk id="6" creationId="{566F1000-6C7A-E84A-BA94-F0F06058814B}"/>
          </ac:spMkLst>
        </pc:spChg>
        <pc:graphicFrameChg chg="add mod">
          <ac:chgData name="Conor Clarke (DCP)" userId="821f5e7e-11e6-4f72-8e49-84592080ebf7" providerId="ADAL" clId="{E8B17DDD-27E2-49B3-8CAA-8F9CA8DB6561}" dt="2020-07-20T19:25:29.829" v="6" actId="1076"/>
          <ac:graphicFrameMkLst>
            <pc:docMk/>
            <pc:sldMk cId="828195153" sldId="1043"/>
            <ac:graphicFrameMk id="11" creationId="{3BF46655-8560-4111-A417-CD6086DEEFDA}"/>
          </ac:graphicFrameMkLst>
        </pc:graphicFrameChg>
        <pc:graphicFrameChg chg="add mod">
          <ac:chgData name="Conor Clarke (DCP)" userId="821f5e7e-11e6-4f72-8e49-84592080ebf7" providerId="ADAL" clId="{E8B17DDD-27E2-49B3-8CAA-8F9CA8DB6561}" dt="2020-07-20T19:30:58.673" v="152" actId="20577"/>
          <ac:graphicFrameMkLst>
            <pc:docMk/>
            <pc:sldMk cId="828195153" sldId="1043"/>
            <ac:graphicFrameMk id="12" creationId="{802258F7-1F4F-47BB-84F9-E80EF936F3C6}"/>
          </ac:graphicFrameMkLst>
        </pc:graphicFrameChg>
        <pc:graphicFrameChg chg="del">
          <ac:chgData name="Conor Clarke (DCP)" userId="821f5e7e-11e6-4f72-8e49-84592080ebf7" providerId="ADAL" clId="{E8B17DDD-27E2-49B3-8CAA-8F9CA8DB6561}" dt="2020-07-20T19:26:57.930" v="7" actId="478"/>
          <ac:graphicFrameMkLst>
            <pc:docMk/>
            <pc:sldMk cId="828195153" sldId="1043"/>
            <ac:graphicFrameMk id="15" creationId="{802258F7-1F4F-47BB-84F9-E80EF936F3C6}"/>
          </ac:graphicFrameMkLst>
        </pc:graphicFrameChg>
        <pc:graphicFrameChg chg="del">
          <ac:chgData name="Conor Clarke (DCP)" userId="821f5e7e-11e6-4f72-8e49-84592080ebf7" providerId="ADAL" clId="{E8B17DDD-27E2-49B3-8CAA-8F9CA8DB6561}" dt="2020-07-20T19:24:59.242" v="2" actId="478"/>
          <ac:graphicFrameMkLst>
            <pc:docMk/>
            <pc:sldMk cId="828195153" sldId="1043"/>
            <ac:graphicFrameMk id="16" creationId="{3BF46655-8560-4111-A417-CD6086DEEFDA}"/>
          </ac:graphicFrameMkLst>
        </pc:graphicFrameChg>
      </pc:sldChg>
    </pc:docChg>
  </pc:docChgLst>
  <pc:docChgLst>
    <pc:chgData clId="Web-{5AB76190-8E0E-68BC-77CF-B2A8F6AC9222}"/>
    <pc:docChg chg="modSld">
      <pc:chgData name="" userId="" providerId="" clId="Web-{5AB76190-8E0E-68BC-77CF-B2A8F6AC9222}" dt="2020-08-13T15:45:43.266" v="6" actId="14100"/>
      <pc:docMkLst>
        <pc:docMk/>
      </pc:docMkLst>
      <pc:sldChg chg="modSp">
        <pc:chgData name="" userId="" providerId="" clId="Web-{5AB76190-8E0E-68BC-77CF-B2A8F6AC9222}" dt="2020-08-13T15:45:43.266" v="6" actId="14100"/>
        <pc:sldMkLst>
          <pc:docMk/>
          <pc:sldMk cId="1519931681" sldId="923"/>
        </pc:sldMkLst>
        <pc:spChg chg="mod">
          <ac:chgData name="" userId="" providerId="" clId="Web-{5AB76190-8E0E-68BC-77CF-B2A8F6AC9222}" dt="2020-08-13T15:45:43.266" v="6" actId="14100"/>
          <ac:spMkLst>
            <pc:docMk/>
            <pc:sldMk cId="1519931681" sldId="923"/>
            <ac:spMk id="3" creationId="{1EAE4D21-EE8B-B54C-98EF-002EA66A340A}"/>
          </ac:spMkLst>
        </pc:spChg>
      </pc:sldChg>
    </pc:docChg>
  </pc:docChgLst>
  <pc:docChgLst>
    <pc:chgData clId="Web-{3999F68B-C6D3-5DD3-F1D6-4FF26AC631A8}"/>
    <pc:docChg chg="modSld">
      <pc:chgData name="" userId="" providerId="" clId="Web-{3999F68B-C6D3-5DD3-F1D6-4FF26AC631A8}" dt="2020-07-13T14:42:57.473" v="3" actId="20577"/>
      <pc:docMkLst>
        <pc:docMk/>
      </pc:docMkLst>
      <pc:sldChg chg="modSp delCm">
        <pc:chgData name="" userId="" providerId="" clId="Web-{3999F68B-C6D3-5DD3-F1D6-4FF26AC631A8}" dt="2020-07-13T14:42:57.473" v="3" actId="20577"/>
        <pc:sldMkLst>
          <pc:docMk/>
          <pc:sldMk cId="3417640896" sldId="660"/>
        </pc:sldMkLst>
        <pc:spChg chg="mod">
          <ac:chgData name="" userId="" providerId="" clId="Web-{3999F68B-C6D3-5DD3-F1D6-4FF26AC631A8}" dt="2020-07-13T14:42:57.473" v="3" actId="20577"/>
          <ac:spMkLst>
            <pc:docMk/>
            <pc:sldMk cId="3417640896" sldId="660"/>
            <ac:spMk id="3" creationId="{D2AC686F-77B0-4B98-9400-AE95D8E98FF4}"/>
          </ac:spMkLst>
        </pc:spChg>
      </pc:sldChg>
    </pc:docChg>
  </pc:docChgLst>
  <pc:docChgLst>
    <pc:chgData name="Yijun Ma (DCP)" userId="6b140692-16f7-4f54-a783-028f16aab7b0" providerId="ADAL" clId="{7B570ED0-788A-4F3A-805E-D6B2B2A4C881}"/>
    <pc:docChg chg="custSel modSld">
      <pc:chgData name="Yijun Ma (DCP)" userId="6b140692-16f7-4f54-a783-028f16aab7b0" providerId="ADAL" clId="{7B570ED0-788A-4F3A-805E-D6B2B2A4C881}" dt="2020-07-07T17:40:08.548" v="97" actId="22"/>
      <pc:docMkLst>
        <pc:docMk/>
      </pc:docMkLst>
    </pc:docChg>
  </pc:docChgLst>
  <pc:docChgLst>
    <pc:chgData name="Laura Smith (DCP)" userId="04d996ad-c8c0-4279-84c0-115ebcf63bba" providerId="ADAL" clId="{2F90D5DE-AEAC-4185-AD86-3CEA45A02E59}"/>
    <pc:docChg chg="undo custSel addSld delSld modSld">
      <pc:chgData name="Laura Smith (DCP)" userId="04d996ad-c8c0-4279-84c0-115ebcf63bba" providerId="ADAL" clId="{2F90D5DE-AEAC-4185-AD86-3CEA45A02E59}" dt="2020-07-07T20:44:56.668" v="3249" actId="1076"/>
      <pc:docMkLst>
        <pc:docMk/>
      </pc:docMkLst>
      <pc:sldChg chg="addSp">
        <pc:chgData name="Laura Smith (DCP)" userId="04d996ad-c8c0-4279-84c0-115ebcf63bba" providerId="ADAL" clId="{2F90D5DE-AEAC-4185-AD86-3CEA45A02E59}" dt="2020-07-07T15:11:56.907" v="1"/>
        <pc:sldMkLst>
          <pc:docMk/>
          <pc:sldMk cId="3417640896" sldId="660"/>
        </pc:sldMkLst>
        <pc:spChg chg="add">
          <ac:chgData name="Laura Smith (DCP)" userId="04d996ad-c8c0-4279-84c0-115ebcf63bba" providerId="ADAL" clId="{2F90D5DE-AEAC-4185-AD86-3CEA45A02E59}" dt="2020-07-07T15:11:56.907" v="1"/>
          <ac:spMkLst>
            <pc:docMk/>
            <pc:sldMk cId="3417640896" sldId="660"/>
            <ac:spMk id="5" creationId="{E2ECBBFC-DC1C-4FA2-904D-F3318A42E300}"/>
          </ac:spMkLst>
        </pc:spChg>
      </pc:sldChg>
      <pc:sldChg chg="addSp">
        <pc:chgData name="Laura Smith (DCP)" userId="04d996ad-c8c0-4279-84c0-115ebcf63bba" providerId="ADAL" clId="{2F90D5DE-AEAC-4185-AD86-3CEA45A02E59}" dt="2020-07-07T15:11:55.675" v="0"/>
        <pc:sldMkLst>
          <pc:docMk/>
          <pc:sldMk cId="4030096002" sldId="691"/>
        </pc:sldMkLst>
        <pc:spChg chg="add">
          <ac:chgData name="Laura Smith (DCP)" userId="04d996ad-c8c0-4279-84c0-115ebcf63bba" providerId="ADAL" clId="{2F90D5DE-AEAC-4185-AD86-3CEA45A02E59}" dt="2020-07-07T15:11:55.675" v="0"/>
          <ac:spMkLst>
            <pc:docMk/>
            <pc:sldMk cId="4030096002" sldId="691"/>
            <ac:spMk id="5" creationId="{762A9D83-0189-4F63-8F18-CFE47BA58054}"/>
          </ac:spMkLst>
        </pc:spChg>
      </pc:sldChg>
      <pc:sldChg chg="addSp modSp">
        <pc:chgData name="Laura Smith (DCP)" userId="04d996ad-c8c0-4279-84c0-115ebcf63bba" providerId="ADAL" clId="{2F90D5DE-AEAC-4185-AD86-3CEA45A02E59}" dt="2020-07-07T20:36:58.257" v="2619" actId="20577"/>
        <pc:sldMkLst>
          <pc:docMk/>
          <pc:sldMk cId="3893609620" sldId="945"/>
        </pc:sldMkLst>
        <pc:spChg chg="mod">
          <ac:chgData name="Laura Smith (DCP)" userId="04d996ad-c8c0-4279-84c0-115ebcf63bba" providerId="ADAL" clId="{2F90D5DE-AEAC-4185-AD86-3CEA45A02E59}" dt="2020-07-07T20:36:58.257" v="2619" actId="20577"/>
          <ac:spMkLst>
            <pc:docMk/>
            <pc:sldMk cId="3893609620" sldId="945"/>
            <ac:spMk id="11" creationId="{3D4BD243-6BB9-4167-91CA-D171B4EC2B79}"/>
          </ac:spMkLst>
        </pc:spChg>
        <pc:spChg chg="add mod">
          <ac:chgData name="Laura Smith (DCP)" userId="04d996ad-c8c0-4279-84c0-115ebcf63bba" providerId="ADAL" clId="{2F90D5DE-AEAC-4185-AD86-3CEA45A02E59}" dt="2020-07-07T15:12:33.550" v="17" actId="1076"/>
          <ac:spMkLst>
            <pc:docMk/>
            <pc:sldMk cId="3893609620" sldId="945"/>
            <ac:spMk id="17" creationId="{D4C1C849-D10F-44B3-8CEB-6B3908E5E0D6}"/>
          </ac:spMkLst>
        </pc:spChg>
      </pc:sldChg>
      <pc:sldChg chg="addSp">
        <pc:chgData name="Laura Smith (DCP)" userId="04d996ad-c8c0-4279-84c0-115ebcf63bba" providerId="ADAL" clId="{2F90D5DE-AEAC-4185-AD86-3CEA45A02E59}" dt="2020-07-07T15:17:47.947" v="172"/>
        <pc:sldMkLst>
          <pc:docMk/>
          <pc:sldMk cId="1905173972" sldId="1021"/>
        </pc:sldMkLst>
        <pc:spChg chg="add">
          <ac:chgData name="Laura Smith (DCP)" userId="04d996ad-c8c0-4279-84c0-115ebcf63bba" providerId="ADAL" clId="{2F90D5DE-AEAC-4185-AD86-3CEA45A02E59}" dt="2020-07-07T15:17:47.947" v="172"/>
          <ac:spMkLst>
            <pc:docMk/>
            <pc:sldMk cId="1905173972" sldId="1021"/>
            <ac:spMk id="11" creationId="{DA2AEE1D-2186-4A70-89B8-DBDB82CD9FE5}"/>
          </ac:spMkLst>
        </pc:spChg>
      </pc:sldChg>
      <pc:sldChg chg="addSp delSp modSp">
        <pc:chgData name="Laura Smith (DCP)" userId="04d996ad-c8c0-4279-84c0-115ebcf63bba" providerId="ADAL" clId="{2F90D5DE-AEAC-4185-AD86-3CEA45A02E59}" dt="2020-07-07T20:34:38.310" v="2587" actId="20577"/>
        <pc:sldMkLst>
          <pc:docMk/>
          <pc:sldMk cId="1155418492" sldId="1026"/>
        </pc:sldMkLst>
        <pc:spChg chg="mod">
          <ac:chgData name="Laura Smith (DCP)" userId="04d996ad-c8c0-4279-84c0-115ebcf63bba" providerId="ADAL" clId="{2F90D5DE-AEAC-4185-AD86-3CEA45A02E59}" dt="2020-07-07T20:34:38.310" v="2587" actId="20577"/>
          <ac:spMkLst>
            <pc:docMk/>
            <pc:sldMk cId="1155418492" sldId="1026"/>
            <ac:spMk id="6" creationId="{6112D5FE-E18B-6A43-BA78-7662CB7AF3D1}"/>
          </ac:spMkLst>
        </pc:spChg>
        <pc:spChg chg="add del mod">
          <ac:chgData name="Laura Smith (DCP)" userId="04d996ad-c8c0-4279-84c0-115ebcf63bba" providerId="ADAL" clId="{2F90D5DE-AEAC-4185-AD86-3CEA45A02E59}" dt="2020-07-07T20:29:56.607" v="2546" actId="478"/>
          <ac:spMkLst>
            <pc:docMk/>
            <pc:sldMk cId="1155418492" sldId="1026"/>
            <ac:spMk id="9" creationId="{81253D5D-18ED-4AE3-BCAB-6487528FB50E}"/>
          </ac:spMkLst>
        </pc:spChg>
      </pc:sldChg>
      <pc:sldChg chg="addSp delSp modSp">
        <pc:chgData name="Laura Smith (DCP)" userId="04d996ad-c8c0-4279-84c0-115ebcf63bba" providerId="ADAL" clId="{2F90D5DE-AEAC-4185-AD86-3CEA45A02E59}" dt="2020-07-07T20:31:17.381" v="2575"/>
        <pc:sldMkLst>
          <pc:docMk/>
          <pc:sldMk cId="1049441131" sldId="1040"/>
        </pc:sldMkLst>
        <pc:spChg chg="mod">
          <ac:chgData name="Laura Smith (DCP)" userId="04d996ad-c8c0-4279-84c0-115ebcf63bba" providerId="ADAL" clId="{2F90D5DE-AEAC-4185-AD86-3CEA45A02E59}" dt="2020-07-07T20:31:17.381" v="2575"/>
          <ac:spMkLst>
            <pc:docMk/>
            <pc:sldMk cId="1049441131" sldId="1040"/>
            <ac:spMk id="8" creationId="{B4306CB6-AC48-1546-B565-FD067D80C14C}"/>
          </ac:spMkLst>
        </pc:spChg>
        <pc:spChg chg="add del">
          <ac:chgData name="Laura Smith (DCP)" userId="04d996ad-c8c0-4279-84c0-115ebcf63bba" providerId="ADAL" clId="{2F90D5DE-AEAC-4185-AD86-3CEA45A02E59}" dt="2020-07-07T20:30:48.411" v="2565" actId="478"/>
          <ac:spMkLst>
            <pc:docMk/>
            <pc:sldMk cId="1049441131" sldId="1040"/>
            <ac:spMk id="11" creationId="{9F73CF8E-3ABE-4217-8B34-713BE3456272}"/>
          </ac:spMkLst>
        </pc:spChg>
      </pc:sldChg>
      <pc:sldChg chg="addSp modSp">
        <pc:chgData name="Laura Smith (DCP)" userId="04d996ad-c8c0-4279-84c0-115ebcf63bba" providerId="ADAL" clId="{2F90D5DE-AEAC-4185-AD86-3CEA45A02E59}" dt="2020-07-07T15:17:32.716" v="171" actId="1076"/>
        <pc:sldMkLst>
          <pc:docMk/>
          <pc:sldMk cId="828195153" sldId="1043"/>
        </pc:sldMkLst>
        <pc:spChg chg="add mod">
          <ac:chgData name="Laura Smith (DCP)" userId="04d996ad-c8c0-4279-84c0-115ebcf63bba" providerId="ADAL" clId="{2F90D5DE-AEAC-4185-AD86-3CEA45A02E59}" dt="2020-07-07T15:17:32.716" v="171" actId="1076"/>
          <ac:spMkLst>
            <pc:docMk/>
            <pc:sldMk cId="828195153" sldId="1043"/>
            <ac:spMk id="14" creationId="{C211C390-EF35-45D9-9B8C-603180791333}"/>
          </ac:spMkLst>
        </pc:spChg>
        <pc:graphicFrameChg chg="mod">
          <ac:chgData name="Laura Smith (DCP)" userId="04d996ad-c8c0-4279-84c0-115ebcf63bba" providerId="ADAL" clId="{2F90D5DE-AEAC-4185-AD86-3CEA45A02E59}" dt="2020-07-07T15:17:27.679" v="170"/>
          <ac:graphicFrameMkLst>
            <pc:docMk/>
            <pc:sldMk cId="828195153" sldId="1043"/>
            <ac:graphicFrameMk id="12" creationId="{3BF46655-8560-4111-A417-CD6086DEEFDA}"/>
          </ac:graphicFrameMkLst>
        </pc:graphicFrameChg>
      </pc:sldChg>
      <pc:sldChg chg="modSp">
        <pc:chgData name="Laura Smith (DCP)" userId="04d996ad-c8c0-4279-84c0-115ebcf63bba" providerId="ADAL" clId="{2F90D5DE-AEAC-4185-AD86-3CEA45A02E59}" dt="2020-07-07T20:40:05.252" v="2743" actId="404"/>
        <pc:sldMkLst>
          <pc:docMk/>
          <pc:sldMk cId="2415737977" sldId="1063"/>
        </pc:sldMkLst>
        <pc:spChg chg="mod">
          <ac:chgData name="Laura Smith (DCP)" userId="04d996ad-c8c0-4279-84c0-115ebcf63bba" providerId="ADAL" clId="{2F90D5DE-AEAC-4185-AD86-3CEA45A02E59}" dt="2020-07-07T20:40:05.252" v="2743" actId="404"/>
          <ac:spMkLst>
            <pc:docMk/>
            <pc:sldMk cId="2415737977" sldId="1063"/>
            <ac:spMk id="20" creationId="{F5A93634-EFB0-4F1D-8EB9-1AD5FF7384D9}"/>
          </ac:spMkLst>
        </pc:spChg>
      </pc:sldChg>
      <pc:sldChg chg="modSp delCm modCm">
        <pc:chgData name="Laura Smith (DCP)" userId="04d996ad-c8c0-4279-84c0-115ebcf63bba" providerId="ADAL" clId="{2F90D5DE-AEAC-4185-AD86-3CEA45A02E59}" dt="2020-07-07T15:16:41.491" v="162" actId="1592"/>
        <pc:sldMkLst>
          <pc:docMk/>
          <pc:sldMk cId="2855638099" sldId="1089"/>
        </pc:sldMkLst>
        <pc:spChg chg="mod">
          <ac:chgData name="Laura Smith (DCP)" userId="04d996ad-c8c0-4279-84c0-115ebcf63bba" providerId="ADAL" clId="{2F90D5DE-AEAC-4185-AD86-3CEA45A02E59}" dt="2020-07-07T15:16:25.886" v="160" actId="1036"/>
          <ac:spMkLst>
            <pc:docMk/>
            <pc:sldMk cId="2855638099" sldId="1089"/>
            <ac:spMk id="8" creationId="{B4306CB6-AC48-1546-B565-FD067D80C14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rl\OneDrive%20-%20NYC%20O365%20HOSTED\Desktop\subway%20ridership\Fare\Ridership_Bus_Subwa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500" b="0" i="0" baseline="0">
                <a:effectLst/>
              </a:rPr>
              <a:t>Estimated * MTA Bus Ridership (March 1-  August </a:t>
            </a:r>
            <a:r>
              <a:rPr lang="en-US" altLang="zh-CN" sz="1500" b="0" i="0" baseline="0">
                <a:effectLst/>
              </a:rPr>
              <a:t>9</a:t>
            </a:r>
            <a:r>
              <a:rPr lang="en-US" sz="1500" b="0" i="0" baseline="0">
                <a:effectLst/>
              </a:rPr>
              <a:t>, 2020)</a:t>
            </a:r>
            <a:endParaRPr lang="en-US" sz="15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strRef>
              <c:f>Sheet1!$E$1</c:f>
              <c:strCache>
                <c:ptCount val="1"/>
                <c:pt idx="0">
                  <c:v> Bus Estimated Ridership </c:v>
                </c:pt>
              </c:strCache>
            </c:strRef>
          </c:tx>
          <c:spPr>
            <a:solidFill>
              <a:schemeClr val="accent2"/>
            </a:solidFill>
            <a:ln>
              <a:noFill/>
            </a:ln>
            <a:effectLst/>
          </c:spPr>
          <c:invertIfNegative val="0"/>
          <c:cat>
            <c:numRef>
              <c:f>Sheet1!$A$2:$A$163</c:f>
              <c:numCache>
                <c:formatCode>m/d/yy</c:formatCode>
                <c:ptCount val="162"/>
                <c:pt idx="0">
                  <c:v>44052</c:v>
                </c:pt>
                <c:pt idx="1">
                  <c:v>44051</c:v>
                </c:pt>
                <c:pt idx="2">
                  <c:v>44050</c:v>
                </c:pt>
                <c:pt idx="3">
                  <c:v>44049</c:v>
                </c:pt>
                <c:pt idx="4">
                  <c:v>44048</c:v>
                </c:pt>
                <c:pt idx="5">
                  <c:v>44047</c:v>
                </c:pt>
                <c:pt idx="6">
                  <c:v>44046</c:v>
                </c:pt>
                <c:pt idx="7">
                  <c:v>44045</c:v>
                </c:pt>
                <c:pt idx="8">
                  <c:v>44044</c:v>
                </c:pt>
                <c:pt idx="9">
                  <c:v>44043</c:v>
                </c:pt>
                <c:pt idx="10">
                  <c:v>44042</c:v>
                </c:pt>
                <c:pt idx="11">
                  <c:v>44041</c:v>
                </c:pt>
                <c:pt idx="12">
                  <c:v>44040</c:v>
                </c:pt>
                <c:pt idx="13">
                  <c:v>44039</c:v>
                </c:pt>
                <c:pt idx="14">
                  <c:v>44038</c:v>
                </c:pt>
                <c:pt idx="15">
                  <c:v>44037</c:v>
                </c:pt>
                <c:pt idx="16">
                  <c:v>44036</c:v>
                </c:pt>
                <c:pt idx="17">
                  <c:v>44035</c:v>
                </c:pt>
                <c:pt idx="18">
                  <c:v>44034</c:v>
                </c:pt>
                <c:pt idx="19">
                  <c:v>44033</c:v>
                </c:pt>
                <c:pt idx="20">
                  <c:v>44032</c:v>
                </c:pt>
                <c:pt idx="21">
                  <c:v>44031</c:v>
                </c:pt>
                <c:pt idx="22">
                  <c:v>44030</c:v>
                </c:pt>
                <c:pt idx="23">
                  <c:v>44029</c:v>
                </c:pt>
                <c:pt idx="24">
                  <c:v>44028</c:v>
                </c:pt>
                <c:pt idx="25">
                  <c:v>44027</c:v>
                </c:pt>
                <c:pt idx="26">
                  <c:v>44026</c:v>
                </c:pt>
                <c:pt idx="27">
                  <c:v>44025</c:v>
                </c:pt>
                <c:pt idx="28">
                  <c:v>44024</c:v>
                </c:pt>
                <c:pt idx="29">
                  <c:v>44023</c:v>
                </c:pt>
                <c:pt idx="30">
                  <c:v>44022</c:v>
                </c:pt>
                <c:pt idx="31">
                  <c:v>44021</c:v>
                </c:pt>
                <c:pt idx="32">
                  <c:v>44020</c:v>
                </c:pt>
                <c:pt idx="33">
                  <c:v>44019</c:v>
                </c:pt>
                <c:pt idx="34">
                  <c:v>44018</c:v>
                </c:pt>
                <c:pt idx="35">
                  <c:v>44017</c:v>
                </c:pt>
                <c:pt idx="36">
                  <c:v>44016</c:v>
                </c:pt>
                <c:pt idx="37">
                  <c:v>44015</c:v>
                </c:pt>
                <c:pt idx="38">
                  <c:v>44014</c:v>
                </c:pt>
                <c:pt idx="39">
                  <c:v>44013</c:v>
                </c:pt>
                <c:pt idx="40">
                  <c:v>44012</c:v>
                </c:pt>
                <c:pt idx="41">
                  <c:v>44011</c:v>
                </c:pt>
                <c:pt idx="42">
                  <c:v>44010</c:v>
                </c:pt>
                <c:pt idx="43">
                  <c:v>44009</c:v>
                </c:pt>
                <c:pt idx="44">
                  <c:v>44008</c:v>
                </c:pt>
                <c:pt idx="45">
                  <c:v>44007</c:v>
                </c:pt>
                <c:pt idx="46">
                  <c:v>44006</c:v>
                </c:pt>
                <c:pt idx="47">
                  <c:v>44005</c:v>
                </c:pt>
                <c:pt idx="48">
                  <c:v>44004</c:v>
                </c:pt>
                <c:pt idx="49">
                  <c:v>44003</c:v>
                </c:pt>
                <c:pt idx="50">
                  <c:v>44002</c:v>
                </c:pt>
                <c:pt idx="51">
                  <c:v>44001</c:v>
                </c:pt>
                <c:pt idx="52">
                  <c:v>44000</c:v>
                </c:pt>
                <c:pt idx="53">
                  <c:v>43999</c:v>
                </c:pt>
                <c:pt idx="54">
                  <c:v>43998</c:v>
                </c:pt>
                <c:pt idx="55">
                  <c:v>43997</c:v>
                </c:pt>
                <c:pt idx="56" formatCode="m/d;@">
                  <c:v>43996</c:v>
                </c:pt>
                <c:pt idx="57" formatCode="m/d;@">
                  <c:v>43995</c:v>
                </c:pt>
                <c:pt idx="58" formatCode="m/d;@">
                  <c:v>43994</c:v>
                </c:pt>
                <c:pt idx="59" formatCode="m/d;@">
                  <c:v>43993</c:v>
                </c:pt>
                <c:pt idx="60" formatCode="m/d;@">
                  <c:v>43992</c:v>
                </c:pt>
                <c:pt idx="61" formatCode="m/d;@">
                  <c:v>43991</c:v>
                </c:pt>
                <c:pt idx="62" formatCode="m/d;@">
                  <c:v>43990</c:v>
                </c:pt>
                <c:pt idx="63" formatCode="m/d;@">
                  <c:v>43989</c:v>
                </c:pt>
                <c:pt idx="64" formatCode="m/d;@">
                  <c:v>43988</c:v>
                </c:pt>
                <c:pt idx="65" formatCode="m/d;@">
                  <c:v>43987</c:v>
                </c:pt>
                <c:pt idx="66" formatCode="m/d;@">
                  <c:v>43986</c:v>
                </c:pt>
                <c:pt idx="67" formatCode="m/d;@">
                  <c:v>43985</c:v>
                </c:pt>
                <c:pt idx="68" formatCode="m/d;@">
                  <c:v>43984</c:v>
                </c:pt>
                <c:pt idx="69" formatCode="m/d;@">
                  <c:v>43983</c:v>
                </c:pt>
                <c:pt idx="70" formatCode="m/d;@">
                  <c:v>43982</c:v>
                </c:pt>
                <c:pt idx="71" formatCode="m/d;@">
                  <c:v>43981</c:v>
                </c:pt>
                <c:pt idx="72" formatCode="m/d;@">
                  <c:v>43980</c:v>
                </c:pt>
                <c:pt idx="73" formatCode="m/d;@">
                  <c:v>43979</c:v>
                </c:pt>
                <c:pt idx="74" formatCode="m/d;@">
                  <c:v>43978</c:v>
                </c:pt>
                <c:pt idx="75" formatCode="m/d;@">
                  <c:v>43977</c:v>
                </c:pt>
                <c:pt idx="76" formatCode="m/d;@">
                  <c:v>43976</c:v>
                </c:pt>
                <c:pt idx="77" formatCode="m/d;@">
                  <c:v>43975</c:v>
                </c:pt>
                <c:pt idx="78" formatCode="m/d;@">
                  <c:v>43974</c:v>
                </c:pt>
                <c:pt idx="79" formatCode="m/d;@">
                  <c:v>43973</c:v>
                </c:pt>
                <c:pt idx="80" formatCode="m/d;@">
                  <c:v>43972</c:v>
                </c:pt>
                <c:pt idx="81" formatCode="m/d;@">
                  <c:v>43971</c:v>
                </c:pt>
                <c:pt idx="82" formatCode="m/d;@">
                  <c:v>43970</c:v>
                </c:pt>
                <c:pt idx="83" formatCode="m/d;@">
                  <c:v>43969</c:v>
                </c:pt>
                <c:pt idx="84" formatCode="m/d;@">
                  <c:v>43968</c:v>
                </c:pt>
                <c:pt idx="85" formatCode="m/d;@">
                  <c:v>43967</c:v>
                </c:pt>
                <c:pt idx="86" formatCode="m/d;@">
                  <c:v>43966</c:v>
                </c:pt>
                <c:pt idx="87" formatCode="m/d;@">
                  <c:v>43965</c:v>
                </c:pt>
                <c:pt idx="88" formatCode="m/d;@">
                  <c:v>43964</c:v>
                </c:pt>
                <c:pt idx="89" formatCode="m/d;@">
                  <c:v>43963</c:v>
                </c:pt>
                <c:pt idx="90" formatCode="m/d;@">
                  <c:v>43962</c:v>
                </c:pt>
                <c:pt idx="91" formatCode="m/d;@">
                  <c:v>43961</c:v>
                </c:pt>
                <c:pt idx="92" formatCode="m/d;@">
                  <c:v>43960</c:v>
                </c:pt>
                <c:pt idx="93" formatCode="m/d;@">
                  <c:v>43959</c:v>
                </c:pt>
                <c:pt idx="94" formatCode="m/d;@">
                  <c:v>43958</c:v>
                </c:pt>
                <c:pt idx="95" formatCode="m/d;@">
                  <c:v>43957</c:v>
                </c:pt>
                <c:pt idx="96" formatCode="m/d;@">
                  <c:v>43956</c:v>
                </c:pt>
                <c:pt idx="97" formatCode="m/d;@">
                  <c:v>43955</c:v>
                </c:pt>
                <c:pt idx="98" formatCode="m/d;@">
                  <c:v>43954</c:v>
                </c:pt>
                <c:pt idx="99" formatCode="m/d;@">
                  <c:v>43953</c:v>
                </c:pt>
                <c:pt idx="100" formatCode="m/d;@">
                  <c:v>43952</c:v>
                </c:pt>
                <c:pt idx="101" formatCode="m/d;@">
                  <c:v>43951</c:v>
                </c:pt>
                <c:pt idx="102" formatCode="m/d;@">
                  <c:v>43950</c:v>
                </c:pt>
                <c:pt idx="103" formatCode="m/d;@">
                  <c:v>43949</c:v>
                </c:pt>
                <c:pt idx="104" formatCode="m/d;@">
                  <c:v>43948</c:v>
                </c:pt>
                <c:pt idx="105" formatCode="m/d;@">
                  <c:v>43947</c:v>
                </c:pt>
                <c:pt idx="106" formatCode="m/d;@">
                  <c:v>43946</c:v>
                </c:pt>
                <c:pt idx="107" formatCode="m/d;@">
                  <c:v>43945</c:v>
                </c:pt>
                <c:pt idx="108" formatCode="m/d;@">
                  <c:v>43944</c:v>
                </c:pt>
                <c:pt idx="109" formatCode="m/d;@">
                  <c:v>43943</c:v>
                </c:pt>
                <c:pt idx="110" formatCode="m/d;@">
                  <c:v>43942</c:v>
                </c:pt>
                <c:pt idx="111" formatCode="m/d;@">
                  <c:v>43941</c:v>
                </c:pt>
                <c:pt idx="112" formatCode="m/d;@">
                  <c:v>43940</c:v>
                </c:pt>
                <c:pt idx="113" formatCode="m/d;@">
                  <c:v>43939</c:v>
                </c:pt>
                <c:pt idx="114" formatCode="m/d;@">
                  <c:v>43938</c:v>
                </c:pt>
                <c:pt idx="115" formatCode="m/d;@">
                  <c:v>43937</c:v>
                </c:pt>
                <c:pt idx="116" formatCode="m/d;@">
                  <c:v>43936</c:v>
                </c:pt>
                <c:pt idx="117" formatCode="m/d;@">
                  <c:v>43935</c:v>
                </c:pt>
                <c:pt idx="118" formatCode="m/d;@">
                  <c:v>43934</c:v>
                </c:pt>
                <c:pt idx="119" formatCode="m/d;@">
                  <c:v>43933</c:v>
                </c:pt>
                <c:pt idx="120" formatCode="m/d;@">
                  <c:v>43932</c:v>
                </c:pt>
                <c:pt idx="121" formatCode="m/d;@">
                  <c:v>43931</c:v>
                </c:pt>
                <c:pt idx="122" formatCode="m/d;@">
                  <c:v>43930</c:v>
                </c:pt>
                <c:pt idx="123" formatCode="m/d;@">
                  <c:v>43929</c:v>
                </c:pt>
                <c:pt idx="124" formatCode="m/d;@">
                  <c:v>43928</c:v>
                </c:pt>
                <c:pt idx="125" formatCode="m/d;@">
                  <c:v>43927</c:v>
                </c:pt>
                <c:pt idx="126" formatCode="m/d;@">
                  <c:v>43926</c:v>
                </c:pt>
                <c:pt idx="127" formatCode="m/d;@">
                  <c:v>43925</c:v>
                </c:pt>
                <c:pt idx="128" formatCode="m/d;@">
                  <c:v>43924</c:v>
                </c:pt>
                <c:pt idx="129" formatCode="m/d;@">
                  <c:v>43923</c:v>
                </c:pt>
                <c:pt idx="130" formatCode="m/d;@">
                  <c:v>43922</c:v>
                </c:pt>
                <c:pt idx="131" formatCode="m/d;@">
                  <c:v>43921</c:v>
                </c:pt>
                <c:pt idx="132" formatCode="m/d;@">
                  <c:v>43920</c:v>
                </c:pt>
                <c:pt idx="133" formatCode="m/d;@">
                  <c:v>43919</c:v>
                </c:pt>
                <c:pt idx="134" formatCode="m/d;@">
                  <c:v>43918</c:v>
                </c:pt>
                <c:pt idx="135" formatCode="m/d;@">
                  <c:v>43917</c:v>
                </c:pt>
                <c:pt idx="136" formatCode="m/d;@">
                  <c:v>43916</c:v>
                </c:pt>
                <c:pt idx="137" formatCode="m/d;@">
                  <c:v>43915</c:v>
                </c:pt>
                <c:pt idx="138" formatCode="m/d;@">
                  <c:v>43914</c:v>
                </c:pt>
                <c:pt idx="139" formatCode="m/d;@">
                  <c:v>43913</c:v>
                </c:pt>
                <c:pt idx="140" formatCode="m/d;@">
                  <c:v>43912</c:v>
                </c:pt>
                <c:pt idx="141" formatCode="m/d;@">
                  <c:v>43911</c:v>
                </c:pt>
                <c:pt idx="142" formatCode="m/d;@">
                  <c:v>43910</c:v>
                </c:pt>
                <c:pt idx="143" formatCode="m/d;@">
                  <c:v>43909</c:v>
                </c:pt>
                <c:pt idx="144" formatCode="m/d;@">
                  <c:v>43908</c:v>
                </c:pt>
                <c:pt idx="145" formatCode="m/d;@">
                  <c:v>43907</c:v>
                </c:pt>
                <c:pt idx="146" formatCode="m/d;@">
                  <c:v>43906</c:v>
                </c:pt>
                <c:pt idx="147" formatCode="m/d;@">
                  <c:v>43905</c:v>
                </c:pt>
                <c:pt idx="148" formatCode="m/d;@">
                  <c:v>43904</c:v>
                </c:pt>
                <c:pt idx="149" formatCode="m/d;@">
                  <c:v>43903</c:v>
                </c:pt>
                <c:pt idx="150" formatCode="m/d;@">
                  <c:v>43902</c:v>
                </c:pt>
                <c:pt idx="151" formatCode="m/d;@">
                  <c:v>43901</c:v>
                </c:pt>
                <c:pt idx="152" formatCode="m/d;@">
                  <c:v>43900</c:v>
                </c:pt>
                <c:pt idx="153" formatCode="m/d;@">
                  <c:v>43899</c:v>
                </c:pt>
                <c:pt idx="154" formatCode="m/d;@">
                  <c:v>43898</c:v>
                </c:pt>
                <c:pt idx="155" formatCode="m/d;@">
                  <c:v>43897</c:v>
                </c:pt>
                <c:pt idx="156" formatCode="m/d;@">
                  <c:v>43896</c:v>
                </c:pt>
                <c:pt idx="157" formatCode="m/d;@">
                  <c:v>43895</c:v>
                </c:pt>
                <c:pt idx="158" formatCode="m/d;@">
                  <c:v>43894</c:v>
                </c:pt>
                <c:pt idx="159" formatCode="m/d;@">
                  <c:v>43893</c:v>
                </c:pt>
                <c:pt idx="160" formatCode="m/d;@">
                  <c:v>43892</c:v>
                </c:pt>
                <c:pt idx="161" formatCode="m/d;@">
                  <c:v>43891</c:v>
                </c:pt>
              </c:numCache>
            </c:numRef>
          </c:cat>
          <c:val>
            <c:numRef>
              <c:f>Sheet1!$E$2:$E$163</c:f>
              <c:numCache>
                <c:formatCode>General</c:formatCode>
                <c:ptCount val="162"/>
                <c:pt idx="0">
                  <c:v>765800</c:v>
                </c:pt>
                <c:pt idx="1">
                  <c:v>960800</c:v>
                </c:pt>
                <c:pt idx="2">
                  <c:v>1251000</c:v>
                </c:pt>
                <c:pt idx="3">
                  <c:v>1239600</c:v>
                </c:pt>
                <c:pt idx="4">
                  <c:v>1303900</c:v>
                </c:pt>
                <c:pt idx="5">
                  <c:v>967300</c:v>
                </c:pt>
                <c:pt idx="6">
                  <c:v>1267900</c:v>
                </c:pt>
                <c:pt idx="7">
                  <c:v>706000</c:v>
                </c:pt>
                <c:pt idx="8">
                  <c:v>968200</c:v>
                </c:pt>
                <c:pt idx="9">
                  <c:v>1215900</c:v>
                </c:pt>
                <c:pt idx="10">
                  <c:v>1222600</c:v>
                </c:pt>
                <c:pt idx="11">
                  <c:v>1272500</c:v>
                </c:pt>
                <c:pt idx="12">
                  <c:v>1210300</c:v>
                </c:pt>
                <c:pt idx="13">
                  <c:v>1184800</c:v>
                </c:pt>
                <c:pt idx="14">
                  <c:v>720100</c:v>
                </c:pt>
                <c:pt idx="15">
                  <c:v>965800</c:v>
                </c:pt>
                <c:pt idx="16">
                  <c:v>1127200</c:v>
                </c:pt>
                <c:pt idx="17">
                  <c:v>1175900</c:v>
                </c:pt>
                <c:pt idx="18">
                  <c:v>1185700</c:v>
                </c:pt>
                <c:pt idx="19">
                  <c:v>1202900</c:v>
                </c:pt>
                <c:pt idx="20">
                  <c:v>1129300</c:v>
                </c:pt>
                <c:pt idx="21">
                  <c:v>698000</c:v>
                </c:pt>
                <c:pt idx="22">
                  <c:v>904000</c:v>
                </c:pt>
                <c:pt idx="23">
                  <c:v>1171700</c:v>
                </c:pt>
                <c:pt idx="24">
                  <c:v>1209900</c:v>
                </c:pt>
                <c:pt idx="25">
                  <c:v>1227800</c:v>
                </c:pt>
                <c:pt idx="26">
                  <c:v>1210600</c:v>
                </c:pt>
                <c:pt idx="27">
                  <c:v>1143600</c:v>
                </c:pt>
                <c:pt idx="28">
                  <c:v>726500</c:v>
                </c:pt>
                <c:pt idx="29">
                  <c:v>851800</c:v>
                </c:pt>
                <c:pt idx="30">
                  <c:v>922700</c:v>
                </c:pt>
                <c:pt idx="31">
                  <c:v>1193700</c:v>
                </c:pt>
                <c:pt idx="32">
                  <c:v>1113900</c:v>
                </c:pt>
                <c:pt idx="33">
                  <c:v>1118100</c:v>
                </c:pt>
                <c:pt idx="34">
                  <c:v>1029600</c:v>
                </c:pt>
                <c:pt idx="35">
                  <c:v>657800</c:v>
                </c:pt>
                <c:pt idx="36">
                  <c:v>753900</c:v>
                </c:pt>
                <c:pt idx="37">
                  <c:v>967600</c:v>
                </c:pt>
                <c:pt idx="38">
                  <c:v>1175800</c:v>
                </c:pt>
                <c:pt idx="39">
                  <c:v>1100600</c:v>
                </c:pt>
                <c:pt idx="40">
                  <c:v>1080800</c:v>
                </c:pt>
                <c:pt idx="41">
                  <c:v>1086800</c:v>
                </c:pt>
                <c:pt idx="42">
                  <c:v>641300</c:v>
                </c:pt>
                <c:pt idx="43">
                  <c:v>753300</c:v>
                </c:pt>
                <c:pt idx="44">
                  <c:v>1127700</c:v>
                </c:pt>
                <c:pt idx="45">
                  <c:v>1086900</c:v>
                </c:pt>
                <c:pt idx="46">
                  <c:v>1099000</c:v>
                </c:pt>
                <c:pt idx="47">
                  <c:v>1085600</c:v>
                </c:pt>
                <c:pt idx="48">
                  <c:v>1015800</c:v>
                </c:pt>
                <c:pt idx="49" formatCode="_(* #,##0_);_(* \(#,##0\);_(* &quot;-&quot;??_);_(@_)">
                  <c:v>592200</c:v>
                </c:pt>
                <c:pt idx="50" formatCode="_(* #,##0_);_(* \(#,##0\);_(* &quot;-&quot;??_);_(@_)">
                  <c:v>768300</c:v>
                </c:pt>
                <c:pt idx="51" formatCode="_(* #,##0_);_(* \(#,##0\);_(* &quot;-&quot;??_);_(@_)">
                  <c:v>1033600</c:v>
                </c:pt>
                <c:pt idx="52" formatCode="_(* #,##0_);_(* \(#,##0\);_(* &quot;-&quot;??_);_(@_)">
                  <c:v>976200</c:v>
                </c:pt>
                <c:pt idx="53" formatCode="_(* #,##0_);_(* \(#,##0\);_(* &quot;-&quot;??_);_(@_)">
                  <c:v>976200</c:v>
                </c:pt>
                <c:pt idx="54" formatCode="_(* #,##0_);_(* \(#,##0\);_(* &quot;-&quot;??_);_(@_)">
                  <c:v>960300</c:v>
                </c:pt>
                <c:pt idx="55" formatCode="_(* #,##0_);_(* \(#,##0\);_(* &quot;-&quot;??_);_(@_)">
                  <c:v>940500</c:v>
                </c:pt>
                <c:pt idx="56" formatCode="_(* #,##0_);_(* \(#,##0\);_(* &quot;-&quot;??_);_(@_)">
                  <c:v>571200</c:v>
                </c:pt>
                <c:pt idx="57" formatCode="_(* #,##0_);_(* \(#,##0\);_(* &quot;-&quot;??_);_(@_)">
                  <c:v>706300</c:v>
                </c:pt>
                <c:pt idx="58" formatCode="_(* #,##0_);_(* \(#,##0\);_(* &quot;-&quot;??_);_(@_)">
                  <c:v>964300</c:v>
                </c:pt>
                <c:pt idx="59" formatCode="_(* #,##0_);_(* \(#,##0\);_(* &quot;-&quot;??_);_(@_)">
                  <c:v>827000</c:v>
                </c:pt>
                <c:pt idx="60" formatCode="_(* #,##0_);_(* \(#,##0\);_(* &quot;-&quot;??_);_(@_)">
                  <c:v>913000</c:v>
                </c:pt>
                <c:pt idx="61" formatCode="_(* #,##0_);_(* \(#,##0\);_(* &quot;-&quot;??_);_(@_)">
                  <c:v>916000</c:v>
                </c:pt>
                <c:pt idx="62" formatCode="_(* #,##0_);_(* \(#,##0\);_(* &quot;-&quot;??_);_(@_)">
                  <c:v>863000</c:v>
                </c:pt>
                <c:pt idx="63" formatCode="_(* #,##0_);_(* \(#,##0\);_(* &quot;-&quot;??_);_(@_)">
                  <c:v>531900</c:v>
                </c:pt>
                <c:pt idx="64" formatCode="_(* #,##0_);_(* \(#,##0\);_(* &quot;-&quot;??_);_(@_)">
                  <c:v>648000</c:v>
                </c:pt>
                <c:pt idx="65" formatCode="_(* #,##0_);_(* \(#,##0\);_(* &quot;-&quot;??_);_(@_)">
                  <c:v>772800</c:v>
                </c:pt>
                <c:pt idx="66" formatCode="_(* #,##0_);_(* \(#,##0\);_(* &quot;-&quot;??_);_(@_)">
                  <c:v>797600</c:v>
                </c:pt>
                <c:pt idx="67" formatCode="_(* #,##0_);_(* \(#,##0\);_(* &quot;-&quot;??_);_(@_)">
                  <c:v>741000</c:v>
                </c:pt>
                <c:pt idx="68" formatCode="_(* #,##0_);_(* \(#,##0\);_(* &quot;-&quot;??_);_(@_)">
                  <c:v>724300</c:v>
                </c:pt>
                <c:pt idx="69" formatCode="_(* #,##0_);_(* \(#,##0\);_(* &quot;-&quot;??_);_(@_)">
                  <c:v>764200</c:v>
                </c:pt>
                <c:pt idx="70" formatCode="_(* #,##0_);_(* \(#,##0\);_(* &quot;-&quot;??_);_(@_)">
                  <c:v>468300</c:v>
                </c:pt>
                <c:pt idx="71" formatCode="_(* #,##0_);_(* \(#,##0\);_(* &quot;-&quot;??_);_(@_)">
                  <c:v>622000</c:v>
                </c:pt>
                <c:pt idx="72" formatCode="_(* #,##0_);_(* \(#,##0\);_(* &quot;-&quot;??_);_(@_)">
                  <c:v>720800</c:v>
                </c:pt>
                <c:pt idx="73" formatCode="_(* #,##0_);_(* \(#,##0\);_(* &quot;-&quot;??_);_(@_)">
                  <c:v>710800</c:v>
                </c:pt>
                <c:pt idx="74" formatCode="_(* #,##0_);_(* \(#,##0\);_(* &quot;-&quot;??_);_(@_)">
                  <c:v>719200</c:v>
                </c:pt>
                <c:pt idx="75" formatCode="_(* #,##0_);_(* \(#,##0\);_(* &quot;-&quot;??_);_(@_)">
                  <c:v>709000</c:v>
                </c:pt>
                <c:pt idx="76" formatCode="_(* #,##0_);_(* \(#,##0\);_(* &quot;-&quot;??_);_(@_)">
                  <c:v>531600</c:v>
                </c:pt>
                <c:pt idx="77" formatCode="_(* #,##0_);_(* \(#,##0\);_(* &quot;-&quot;??_);_(@_)">
                  <c:v>461200</c:v>
                </c:pt>
                <c:pt idx="78" formatCode="_(* #,##0_);_(* \(#,##0\);_(* &quot;-&quot;??_);_(@_)">
                  <c:v>460700</c:v>
                </c:pt>
                <c:pt idx="79" formatCode="_(* #,##0_);_(* \(#,##0\);_(* &quot;-&quot;??_);_(@_)">
                  <c:v>690200</c:v>
                </c:pt>
                <c:pt idx="80" formatCode="_(* #,##0_);_(* \(#,##0\);_(* &quot;-&quot;??_);_(@_)">
                  <c:v>655328</c:v>
                </c:pt>
                <c:pt idx="81" formatCode="_(* #,##0_);_(* \(#,##0\);_(* &quot;-&quot;??_);_(@_)">
                  <c:v>654804</c:v>
                </c:pt>
                <c:pt idx="82" formatCode="_(* #,##0_);_(* \(#,##0\);_(* &quot;-&quot;??_);_(@_)">
                  <c:v>643552</c:v>
                </c:pt>
                <c:pt idx="83" formatCode="_(* #,##0_);_(* \(#,##0\);_(* &quot;-&quot;??_);_(@_)">
                  <c:v>624174</c:v>
                </c:pt>
                <c:pt idx="84" formatCode="_(* #,##0_);_(* \(#,##0\);_(* &quot;-&quot;??_);_(@_)">
                  <c:v>413492</c:v>
                </c:pt>
                <c:pt idx="85" formatCode="_(* #,##0_);_(* \(#,##0\);_(* &quot;-&quot;??_);_(@_)">
                  <c:v>530594</c:v>
                </c:pt>
                <c:pt idx="86" formatCode="_(* #,##0_);_(* \(#,##0\);_(* &quot;-&quot;??_);_(@_)">
                  <c:v>671506</c:v>
                </c:pt>
                <c:pt idx="87" formatCode="_(* #,##0_);_(* \(#,##0\);_(* &quot;-&quot;??_);_(@_)">
                  <c:v>616040</c:v>
                </c:pt>
                <c:pt idx="88" formatCode="_(* #,##0_);_(* \(#,##0\);_(* &quot;-&quot;??_);_(@_)">
                  <c:v>611250</c:v>
                </c:pt>
                <c:pt idx="89" formatCode="_(* #,##0_);_(* \(#,##0\);_(* &quot;-&quot;??_);_(@_)">
                  <c:v>594936</c:v>
                </c:pt>
                <c:pt idx="90" formatCode="_(* #,##0_);_(* \(#,##0\);_(* &quot;-&quot;??_);_(@_)">
                  <c:v>553343</c:v>
                </c:pt>
                <c:pt idx="91" formatCode="_(* #,##0_);_(* \(#,##0\);_(* &quot;-&quot;??_);_(@_)">
                  <c:v>385966</c:v>
                </c:pt>
                <c:pt idx="92" formatCode="_(* #,##0_);_(* \(#,##0\);_(* &quot;-&quot;??_);_(@_)">
                  <c:v>462438</c:v>
                </c:pt>
                <c:pt idx="93" formatCode="_(* #,##0_);_(* \(#,##0\);_(* &quot;-&quot;??_);_(@_)">
                  <c:v>573718</c:v>
                </c:pt>
                <c:pt idx="94" formatCode="_(* #,##0_);_(* \(#,##0\);_(* &quot;-&quot;??_);_(@_)">
                  <c:v>605591</c:v>
                </c:pt>
                <c:pt idx="95" formatCode="_(* #,##0_);_(* \(#,##0\);_(* &quot;-&quot;??_);_(@_)">
                  <c:v>538761</c:v>
                </c:pt>
                <c:pt idx="96" formatCode="_(* #,##0_);_(* \(#,##0\);_(* &quot;-&quot;??_);_(@_)">
                  <c:v>583421</c:v>
                </c:pt>
                <c:pt idx="97" formatCode="_(* #,##0_);_(* \(#,##0\);_(* &quot;-&quot;??_);_(@_)">
                  <c:v>578317</c:v>
                </c:pt>
                <c:pt idx="98" formatCode="_(* #,##0_);_(* \(#,##0\);_(* &quot;-&quot;??_);_(@_)">
                  <c:v>375876</c:v>
                </c:pt>
                <c:pt idx="99" formatCode="_(* #,##0_);_(* \(#,##0\);_(* &quot;-&quot;??_);_(@_)">
                  <c:v>478575</c:v>
                </c:pt>
                <c:pt idx="100" formatCode="_(* #,##0_);_(* \(#,##0\);_(* &quot;-&quot;??_);_(@_)">
                  <c:v>555279</c:v>
                </c:pt>
                <c:pt idx="101" formatCode="_(* #,##0_);_(* \(#,##0\);_(* &quot;-&quot;??_);_(@_)">
                  <c:v>488797</c:v>
                </c:pt>
                <c:pt idx="102" formatCode="_(* #,##0_);_(* \(#,##0\);_(* &quot;-&quot;??_);_(@_)">
                  <c:v>519564</c:v>
                </c:pt>
                <c:pt idx="103" formatCode="_(* #,##0_);_(* \(#,##0\);_(* &quot;-&quot;??_);_(@_)">
                  <c:v>555610</c:v>
                </c:pt>
                <c:pt idx="104" formatCode="_(* #,##0_);_(* \(#,##0\);_(* &quot;-&quot;??_);_(@_)">
                  <c:v>518386</c:v>
                </c:pt>
                <c:pt idx="105" formatCode="_(* #,##0_);_(* \(#,##0\);_(* &quot;-&quot;??_);_(@_)">
                  <c:v>293511</c:v>
                </c:pt>
                <c:pt idx="106" formatCode="_(* #,##0_);_(* \(#,##0\);_(* &quot;-&quot;??_);_(@_)">
                  <c:v>430845</c:v>
                </c:pt>
                <c:pt idx="107" formatCode="_(* #,##0_);_(* \(#,##0\);_(* &quot;-&quot;??_);_(@_)">
                  <c:v>475360</c:v>
                </c:pt>
                <c:pt idx="108" formatCode="_(* #,##0_);_(* \(#,##0\);_(* &quot;-&quot;??_);_(@_)">
                  <c:v>487323</c:v>
                </c:pt>
                <c:pt idx="109" formatCode="_(* #,##0_);_(* \(#,##0\);_(* &quot;-&quot;??_);_(@_)">
                  <c:v>518941</c:v>
                </c:pt>
                <c:pt idx="110" formatCode="_(* #,##0_);_(* \(#,##0\);_(* &quot;-&quot;??_);_(@_)">
                  <c:v>450917</c:v>
                </c:pt>
                <c:pt idx="111" formatCode="_(* #,##0_);_(* \(#,##0\);_(* &quot;-&quot;??_);_(@_)">
                  <c:v>498685</c:v>
                </c:pt>
                <c:pt idx="112" formatCode="_(* #,##0_);_(* \(#,##0\);_(* &quot;-&quot;??_);_(@_)">
                  <c:v>318134</c:v>
                </c:pt>
                <c:pt idx="113" formatCode="_(* #,##0_);_(* \(#,##0\);_(* &quot;-&quot;??_);_(@_)">
                  <c:v>351965</c:v>
                </c:pt>
                <c:pt idx="114" formatCode="_(* #,##0_);_(* \(#,##0\);_(* &quot;-&quot;??_);_(@_)">
                  <c:v>470282</c:v>
                </c:pt>
                <c:pt idx="115" formatCode="_(* #,##0_);_(* \(#,##0\);_(* &quot;-&quot;??_);_(@_)">
                  <c:v>447033</c:v>
                </c:pt>
                <c:pt idx="116" formatCode="_(* #,##0_);_(* \(#,##0\);_(* &quot;-&quot;??_);_(@_)">
                  <c:v>454097</c:v>
                </c:pt>
                <c:pt idx="117" formatCode="_(* #,##0_);_(* \(#,##0\);_(* &quot;-&quot;??_);_(@_)">
                  <c:v>470906</c:v>
                </c:pt>
                <c:pt idx="118" formatCode="_(* #,##0_);_(* \(#,##0\);_(* &quot;-&quot;??_);_(@_)">
                  <c:v>347790</c:v>
                </c:pt>
                <c:pt idx="119" formatCode="_(* #,##0_);_(* \(#,##0\);_(* &quot;-&quot;??_);_(@_)">
                  <c:v>279095</c:v>
                </c:pt>
                <c:pt idx="120" formatCode="_(* #,##0_);_(* \(#,##0\);_(* &quot;-&quot;??_);_(@_)">
                  <c:v>378234</c:v>
                </c:pt>
                <c:pt idx="121" formatCode="_(* #,##0_);_(* \(#,##0\);_(* &quot;-&quot;??_);_(@_)">
                  <c:v>414100</c:v>
                </c:pt>
                <c:pt idx="122" formatCode="_(* #,##0_);_(* \(#,##0\);_(* &quot;-&quot;??_);_(@_)">
                  <c:v>401941</c:v>
                </c:pt>
                <c:pt idx="123" formatCode="_(* #,##0_);_(* \(#,##0\);_(* &quot;-&quot;??_);_(@_)">
                  <c:v>431732</c:v>
                </c:pt>
                <c:pt idx="124" formatCode="_(* #,##0_);_(* \(#,##0\);_(* &quot;-&quot;??_);_(@_)">
                  <c:v>441002</c:v>
                </c:pt>
                <c:pt idx="125" formatCode="_(* #,##0_);_(* \(#,##0\);_(* &quot;-&quot;??_);_(@_)">
                  <c:v>454914</c:v>
                </c:pt>
                <c:pt idx="126" formatCode="_(* #,##0_);_(* \(#,##0\);_(* &quot;-&quot;??_);_(@_)">
                  <c:v>299558</c:v>
                </c:pt>
                <c:pt idx="127" formatCode="_(* #,##0_);_(* \(#,##0\);_(* &quot;-&quot;??_);_(@_)">
                  <c:v>383432</c:v>
                </c:pt>
                <c:pt idx="128" formatCode="_(* #,##0_);_(* \(#,##0\);_(* &quot;-&quot;??_);_(@_)">
                  <c:v>483769</c:v>
                </c:pt>
                <c:pt idx="129" formatCode="_(* #,##0_);_(* \(#,##0\);_(* &quot;-&quot;??_);_(@_)">
                  <c:v>472666</c:v>
                </c:pt>
                <c:pt idx="130" formatCode="_(* #,##0_);_(* \(#,##0\);_(* &quot;-&quot;??_);_(@_)">
                  <c:v>495364</c:v>
                </c:pt>
                <c:pt idx="131" formatCode="_(* #,##0_);_(* \(#,##0\);_(* &quot;-&quot;??_);_(@_)">
                  <c:v>514279</c:v>
                </c:pt>
                <c:pt idx="132" formatCode="_(* #,##0_);_(* \(#,##0\);_(* &quot;-&quot;??_);_(@_)">
                  <c:v>563874</c:v>
                </c:pt>
                <c:pt idx="133" formatCode="_(* #,##0_);_(* \(#,##0\);_(* &quot;-&quot;??_);_(@_)">
                  <c:v>306820</c:v>
                </c:pt>
                <c:pt idx="134" formatCode="_(* #,##0_);_(* \(#,##0\);_(* &quot;-&quot;??_);_(@_)">
                  <c:v>403680</c:v>
                </c:pt>
                <c:pt idx="135" formatCode="_(* #,##0_);_(* \(#,##0\);_(* &quot;-&quot;??_);_(@_)">
                  <c:v>641846</c:v>
                </c:pt>
                <c:pt idx="136" formatCode="_(* #,##0_);_(* \(#,##0\);_(* &quot;-&quot;??_);_(@_)">
                  <c:v>646076</c:v>
                </c:pt>
                <c:pt idx="137" formatCode="_(* #,##0_);_(* \(#,##0\);_(* &quot;-&quot;??_);_(@_)">
                  <c:v>618031</c:v>
                </c:pt>
                <c:pt idx="138" formatCode="_(* #,##0_);_(* \(#,##0\);_(* &quot;-&quot;??_);_(@_)">
                  <c:v>657814</c:v>
                </c:pt>
                <c:pt idx="139" formatCode="_(* #,##0_);_(* \(#,##0\);_(* &quot;-&quot;??_);_(@_)">
                  <c:v>578187</c:v>
                </c:pt>
                <c:pt idx="140" formatCode="_(* #,##0_);_(* \(#,##0\);_(* &quot;-&quot;??_);_(@_)">
                  <c:v>378934</c:v>
                </c:pt>
                <c:pt idx="141" formatCode="_(* #,##0_);_(* \(#,##0\);_(* &quot;-&quot;??_);_(@_)">
                  <c:v>564919</c:v>
                </c:pt>
                <c:pt idx="142" formatCode="_(* #,##0_);_(* \(#,##0\);_(* &quot;-&quot;??_);_(@_)">
                  <c:v>868602</c:v>
                </c:pt>
                <c:pt idx="143" formatCode="_(* #,##0_);_(* \(#,##0\);_(* &quot;-&quot;??_);_(@_)">
                  <c:v>933602</c:v>
                </c:pt>
                <c:pt idx="144" formatCode="_(* #,##0_);_(* \(#,##0\);_(* &quot;-&quot;??_);_(@_)">
                  <c:v>1059502</c:v>
                </c:pt>
                <c:pt idx="145" formatCode="_(* #,##0_);_(* \(#,##0\);_(* &quot;-&quot;??_);_(@_)">
                  <c:v>1094949</c:v>
                </c:pt>
                <c:pt idx="146" formatCode="_(* #,##0_);_(* \(#,##0\);_(* &quot;-&quot;??_);_(@_)">
                  <c:v>1237309</c:v>
                </c:pt>
                <c:pt idx="147" formatCode="_(* #,##0_);_(* \(#,##0\);_(* &quot;-&quot;??_);_(@_)">
                  <c:v>711555</c:v>
                </c:pt>
                <c:pt idx="148" formatCode="_(* #,##0_);_(* \(#,##0\);_(* &quot;-&quot;??_);_(@_)">
                  <c:v>993287</c:v>
                </c:pt>
                <c:pt idx="149" formatCode="_(* #,##0_);_(* \(#,##0\);_(* &quot;-&quot;??_);_(@_)">
                  <c:v>1715737</c:v>
                </c:pt>
                <c:pt idx="150" formatCode="_(* #,##0_);_(* \(#,##0\);_(* &quot;-&quot;??_);_(@_)">
                  <c:v>1938424</c:v>
                </c:pt>
                <c:pt idx="151" formatCode="_(* #,##0_);_(* \(#,##0\);_(* &quot;-&quot;??_);_(@_)">
                  <c:v>2112967</c:v>
                </c:pt>
                <c:pt idx="152" formatCode="_(* #,##0_);_(* \(#,##0\);_(* &quot;-&quot;??_);_(@_)">
                  <c:v>2111989</c:v>
                </c:pt>
                <c:pt idx="153" formatCode="_(* #,##0_);_(* \(#,##0\);_(* &quot;-&quot;??_);_(@_)">
                  <c:v>2124770</c:v>
                </c:pt>
                <c:pt idx="154" formatCode="_(* #,##0_);_(* \(#,##0\);_(* &quot;-&quot;??_);_(@_)">
                  <c:v>957163</c:v>
                </c:pt>
                <c:pt idx="155" formatCode="_(* #,##0_);_(* \(#,##0\);_(* &quot;-&quot;??_);_(@_)">
                  <c:v>1249085</c:v>
                </c:pt>
                <c:pt idx="156" formatCode="_(* #,##0_);_(* \(#,##0\);_(* &quot;-&quot;??_);_(@_)">
                  <c:v>2066743</c:v>
                </c:pt>
                <c:pt idx="157" formatCode="_(* #,##0_);_(* \(#,##0\);_(* &quot;-&quot;??_);_(@_)">
                  <c:v>2244515</c:v>
                </c:pt>
                <c:pt idx="158" formatCode="_(* #,##0_);_(* \(#,##0\);_(* &quot;-&quot;??_);_(@_)">
                  <c:v>2177165</c:v>
                </c:pt>
                <c:pt idx="159" formatCode="_(* #,##0_);_(* \(#,##0\);_(* &quot;-&quot;??_);_(@_)">
                  <c:v>2228608</c:v>
                </c:pt>
                <c:pt idx="160" formatCode="_(* #,##0_);_(* \(#,##0\);_(* &quot;-&quot;??_);_(@_)">
                  <c:v>2209066</c:v>
                </c:pt>
                <c:pt idx="161" formatCode="_(* #,##0_);_(* \(#,##0\);_(* &quot;-&quot;??_);_(@_)">
                  <c:v>984908</c:v>
                </c:pt>
              </c:numCache>
            </c:numRef>
          </c:val>
          <c:extLst>
            <c:ext xmlns:c16="http://schemas.microsoft.com/office/drawing/2014/chart" uri="{C3380CC4-5D6E-409C-BE32-E72D297353CC}">
              <c16:uniqueId val="{00000000-42D6-B948-B6F9-0F0C17D5A8FB}"/>
            </c:ext>
          </c:extLst>
        </c:ser>
        <c:dLbls>
          <c:showLegendKey val="0"/>
          <c:showVal val="0"/>
          <c:showCatName val="0"/>
          <c:showSerName val="0"/>
          <c:showPercent val="0"/>
          <c:showBubbleSize val="0"/>
        </c:dLbls>
        <c:gapWidth val="150"/>
        <c:axId val="1365117536"/>
        <c:axId val="1365119216"/>
      </c:barChart>
      <c:dateAx>
        <c:axId val="1365117536"/>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5119216"/>
        <c:crosses val="autoZero"/>
        <c:auto val="1"/>
        <c:lblOffset val="100"/>
        <c:baseTimeUnit val="days"/>
      </c:dateAx>
      <c:valAx>
        <c:axId val="13651192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600"/>
                  <a:t>Ridership</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5117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7072"/>
          </a:xfrm>
          <a:prstGeom prst="rect">
            <a:avLst/>
          </a:prstGeom>
        </p:spPr>
        <p:txBody>
          <a:bodyPr vert="horz" lIns="93296" tIns="46648" rIns="93296" bIns="46648" rtlCol="0"/>
          <a:lstStyle>
            <a:lvl1pPr algn="l">
              <a:defRPr sz="1200"/>
            </a:lvl1pPr>
          </a:lstStyle>
          <a:p>
            <a:endParaRPr lang="en-US"/>
          </a:p>
        </p:txBody>
      </p:sp>
      <p:sp>
        <p:nvSpPr>
          <p:cNvPr id="3" name="Date Placeholder 2"/>
          <p:cNvSpPr>
            <a:spLocks noGrp="1"/>
          </p:cNvSpPr>
          <p:nvPr>
            <p:ph type="dt" sz="quarter" idx="1"/>
          </p:nvPr>
        </p:nvSpPr>
        <p:spPr>
          <a:xfrm>
            <a:off x="3978134" y="2"/>
            <a:ext cx="3043343" cy="467072"/>
          </a:xfrm>
          <a:prstGeom prst="rect">
            <a:avLst/>
          </a:prstGeom>
        </p:spPr>
        <p:txBody>
          <a:bodyPr vert="horz" lIns="93296" tIns="46648" rIns="93296" bIns="46648" rtlCol="0"/>
          <a:lstStyle>
            <a:lvl1pPr algn="r">
              <a:defRPr sz="1200"/>
            </a:lvl1pPr>
          </a:lstStyle>
          <a:p>
            <a:fld id="{2CD973F8-7566-4122-9CC8-9685979BC576}" type="datetimeFigureOut">
              <a:rPr lang="en-US" smtClean="0"/>
              <a:t>9/10/2020</a:t>
            </a:fld>
            <a:endParaRPr lang="en-US"/>
          </a:p>
        </p:txBody>
      </p:sp>
      <p:sp>
        <p:nvSpPr>
          <p:cNvPr id="4" name="Footer Placeholder 3"/>
          <p:cNvSpPr>
            <a:spLocks noGrp="1"/>
          </p:cNvSpPr>
          <p:nvPr>
            <p:ph type="ftr" sz="quarter" idx="2"/>
          </p:nvPr>
        </p:nvSpPr>
        <p:spPr>
          <a:xfrm>
            <a:off x="2" y="8842033"/>
            <a:ext cx="3043343" cy="467071"/>
          </a:xfrm>
          <a:prstGeom prst="rect">
            <a:avLst/>
          </a:prstGeom>
        </p:spPr>
        <p:txBody>
          <a:bodyPr vert="horz" lIns="93296" tIns="46648" rIns="93296" bIns="46648" rtlCol="0" anchor="b"/>
          <a:lstStyle>
            <a:lvl1pPr algn="l">
              <a:defRPr sz="1200"/>
            </a:lvl1pPr>
          </a:lstStyle>
          <a:p>
            <a:endParaRPr lang="en-US"/>
          </a:p>
        </p:txBody>
      </p:sp>
      <p:sp>
        <p:nvSpPr>
          <p:cNvPr id="5" name="Slide Number Placeholder 4"/>
          <p:cNvSpPr>
            <a:spLocks noGrp="1"/>
          </p:cNvSpPr>
          <p:nvPr>
            <p:ph type="sldNum" sz="quarter" idx="3"/>
          </p:nvPr>
        </p:nvSpPr>
        <p:spPr>
          <a:xfrm>
            <a:off x="3978134" y="8842033"/>
            <a:ext cx="3043343" cy="467071"/>
          </a:xfrm>
          <a:prstGeom prst="rect">
            <a:avLst/>
          </a:prstGeom>
        </p:spPr>
        <p:txBody>
          <a:bodyPr vert="horz" lIns="93296" tIns="46648" rIns="93296" bIns="46648" rtlCol="0" anchor="b"/>
          <a:lstStyle>
            <a:lvl1pPr algn="r">
              <a:defRPr sz="1200"/>
            </a:lvl1pPr>
          </a:lstStyle>
          <a:p>
            <a:fld id="{2070F437-B8B3-4E3B-803A-1A0522782222}" type="slidenum">
              <a:rPr lang="en-US" smtClean="0"/>
              <a:t>‹#›</a:t>
            </a:fld>
            <a:endParaRPr lang="en-US"/>
          </a:p>
        </p:txBody>
      </p:sp>
    </p:spTree>
    <p:extLst>
      <p:ext uri="{BB962C8B-B14F-4D97-AF65-F5344CB8AC3E}">
        <p14:creationId xmlns:p14="http://schemas.microsoft.com/office/powerpoint/2010/main" val="21830175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649" cy="466379"/>
          </a:xfrm>
          <a:prstGeom prst="rect">
            <a:avLst/>
          </a:prstGeom>
        </p:spPr>
        <p:txBody>
          <a:bodyPr vert="horz" lIns="88260" tIns="44130" rIns="88260" bIns="44130" rtlCol="0"/>
          <a:lstStyle>
            <a:lvl1pPr algn="l">
              <a:defRPr sz="1200"/>
            </a:lvl1pPr>
          </a:lstStyle>
          <a:p>
            <a:endParaRPr lang="en-US"/>
          </a:p>
        </p:txBody>
      </p:sp>
      <p:sp>
        <p:nvSpPr>
          <p:cNvPr id="3" name="Date Placeholder 2"/>
          <p:cNvSpPr>
            <a:spLocks noGrp="1"/>
          </p:cNvSpPr>
          <p:nvPr>
            <p:ph type="dt" idx="1"/>
          </p:nvPr>
        </p:nvSpPr>
        <p:spPr>
          <a:xfrm>
            <a:off x="3977930" y="2"/>
            <a:ext cx="3043649" cy="466379"/>
          </a:xfrm>
          <a:prstGeom prst="rect">
            <a:avLst/>
          </a:prstGeom>
        </p:spPr>
        <p:txBody>
          <a:bodyPr vert="horz" lIns="88260" tIns="44130" rIns="88260" bIns="44130" rtlCol="0"/>
          <a:lstStyle>
            <a:lvl1pPr algn="r">
              <a:defRPr sz="1200"/>
            </a:lvl1pPr>
          </a:lstStyle>
          <a:p>
            <a:fld id="{7F1B796E-1581-404B-B98D-7A4145C81CC2}" type="datetimeFigureOut">
              <a:rPr lang="en-US" smtClean="0"/>
              <a:t>9/10/20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88260" tIns="44130" rIns="88260" bIns="44130" rtlCol="0" anchor="ctr"/>
          <a:lstStyle/>
          <a:p>
            <a:endParaRPr lang="en-US"/>
          </a:p>
        </p:txBody>
      </p:sp>
      <p:sp>
        <p:nvSpPr>
          <p:cNvPr id="5" name="Notes Placeholder 4"/>
          <p:cNvSpPr>
            <a:spLocks noGrp="1"/>
          </p:cNvSpPr>
          <p:nvPr>
            <p:ph type="body" sz="quarter" idx="3"/>
          </p:nvPr>
        </p:nvSpPr>
        <p:spPr>
          <a:xfrm>
            <a:off x="702618" y="4480621"/>
            <a:ext cx="5617870" cy="3664842"/>
          </a:xfrm>
          <a:prstGeom prst="rect">
            <a:avLst/>
          </a:prstGeom>
        </p:spPr>
        <p:txBody>
          <a:bodyPr vert="horz" lIns="88260" tIns="44130" rIns="88260" bIns="4413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722"/>
            <a:ext cx="3043649" cy="466378"/>
          </a:xfrm>
          <a:prstGeom prst="rect">
            <a:avLst/>
          </a:prstGeom>
        </p:spPr>
        <p:txBody>
          <a:bodyPr vert="horz" lIns="88260" tIns="44130" rIns="88260" bIns="44130" rtlCol="0" anchor="b"/>
          <a:lstStyle>
            <a:lvl1pPr algn="l">
              <a:defRPr sz="1200"/>
            </a:lvl1pPr>
          </a:lstStyle>
          <a:p>
            <a:endParaRPr lang="en-US"/>
          </a:p>
        </p:txBody>
      </p:sp>
      <p:sp>
        <p:nvSpPr>
          <p:cNvPr id="7" name="Slide Number Placeholder 6"/>
          <p:cNvSpPr>
            <a:spLocks noGrp="1"/>
          </p:cNvSpPr>
          <p:nvPr>
            <p:ph type="sldNum" sz="quarter" idx="5"/>
          </p:nvPr>
        </p:nvSpPr>
        <p:spPr>
          <a:xfrm>
            <a:off x="3977930" y="8842722"/>
            <a:ext cx="3043649" cy="466378"/>
          </a:xfrm>
          <a:prstGeom prst="rect">
            <a:avLst/>
          </a:prstGeom>
        </p:spPr>
        <p:txBody>
          <a:bodyPr vert="horz" lIns="88260" tIns="44130" rIns="88260" bIns="44130" rtlCol="0" anchor="b"/>
          <a:lstStyle>
            <a:lvl1pPr algn="r">
              <a:defRPr sz="1200"/>
            </a:lvl1pPr>
          </a:lstStyle>
          <a:p>
            <a:fld id="{E8255C88-8FB9-47CA-83E9-75F9EB34F6C4}" type="slidenum">
              <a:rPr lang="en-US" smtClean="0"/>
              <a:t>‹#›</a:t>
            </a:fld>
            <a:endParaRPr lang="en-US"/>
          </a:p>
        </p:txBody>
      </p:sp>
    </p:spTree>
    <p:extLst>
      <p:ext uri="{BB962C8B-B14F-4D97-AF65-F5344CB8AC3E}">
        <p14:creationId xmlns:p14="http://schemas.microsoft.com/office/powerpoint/2010/main" val="1113649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255C88-8FB9-47CA-83E9-75F9EB34F6C4}" type="slidenum">
              <a:rPr lang="en-US" smtClean="0"/>
              <a:t>3</a:t>
            </a:fld>
            <a:endParaRPr lang="en-US"/>
          </a:p>
        </p:txBody>
      </p:sp>
    </p:spTree>
    <p:extLst>
      <p:ext uri="{BB962C8B-B14F-4D97-AF65-F5344CB8AC3E}">
        <p14:creationId xmlns:p14="http://schemas.microsoft.com/office/powerpoint/2010/main" val="4175887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YM 8/10</a:t>
            </a:r>
          </a:p>
        </p:txBody>
      </p:sp>
      <p:sp>
        <p:nvSpPr>
          <p:cNvPr id="4" name="Slide Number Placeholder 3"/>
          <p:cNvSpPr>
            <a:spLocks noGrp="1"/>
          </p:cNvSpPr>
          <p:nvPr>
            <p:ph type="sldNum" sz="quarter" idx="5"/>
          </p:nvPr>
        </p:nvSpPr>
        <p:spPr/>
        <p:txBody>
          <a:bodyPr/>
          <a:lstStyle/>
          <a:p>
            <a:fld id="{E8255C88-8FB9-47CA-83E9-75F9EB34F6C4}" type="slidenum">
              <a:rPr lang="en-US" smtClean="0"/>
              <a:t>4</a:t>
            </a:fld>
            <a:endParaRPr lang="en-US"/>
          </a:p>
        </p:txBody>
      </p:sp>
    </p:spTree>
    <p:extLst>
      <p:ext uri="{BB962C8B-B14F-4D97-AF65-F5344CB8AC3E}">
        <p14:creationId xmlns:p14="http://schemas.microsoft.com/office/powerpoint/2010/main" val="14253393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61397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031546"/>
            <a:ext cx="12192000" cy="826008"/>
          </a:xfrm>
          <a:prstGeom prst="rect">
            <a:avLst/>
          </a:prstGeom>
        </p:spPr>
      </p:pic>
      <p:sp>
        <p:nvSpPr>
          <p:cNvPr id="2" name="Title 1"/>
          <p:cNvSpPr>
            <a:spLocks noGrp="1"/>
          </p:cNvSpPr>
          <p:nvPr>
            <p:ph type="title"/>
          </p:nvPr>
        </p:nvSpPr>
        <p:spPr>
          <a:xfrm>
            <a:off x="963084" y="3071816"/>
            <a:ext cx="10363200" cy="1362075"/>
          </a:xfrm>
          <a:noFill/>
        </p:spPr>
        <p:txBody>
          <a:bodyPr anchor="b">
            <a:normAutofit/>
          </a:bodyPr>
          <a:lstStyle>
            <a:lvl1pPr algn="r">
              <a:defRPr sz="3200" b="1" cap="all">
                <a:latin typeface="Arial" panose="020B0604020202020204" pitchFamily="34" charset="0"/>
                <a:cs typeface="Arial" panose="020B0604020202020204" pitchFamily="34" charset="0"/>
              </a:defRPr>
            </a:lvl1pPr>
          </a:lstStyle>
          <a:p>
            <a:r>
              <a:rPr lang="en-US"/>
              <a:t>Click to edit Master title style</a:t>
            </a:r>
          </a:p>
        </p:txBody>
      </p:sp>
      <p:sp>
        <p:nvSpPr>
          <p:cNvPr id="11" name="Text Placeholder 2"/>
          <p:cNvSpPr>
            <a:spLocks noGrp="1"/>
          </p:cNvSpPr>
          <p:nvPr>
            <p:ph type="body" idx="1"/>
          </p:nvPr>
        </p:nvSpPr>
        <p:spPr>
          <a:xfrm>
            <a:off x="963084" y="4435103"/>
            <a:ext cx="10363200" cy="661985"/>
          </a:xfrm>
          <a:prstGeom prst="rect">
            <a:avLst/>
          </a:prstGeom>
          <a:noFill/>
        </p:spPr>
        <p:txBody>
          <a:bodyPr anchor="t">
            <a:normAutofit/>
          </a:bodyPr>
          <a:lstStyle>
            <a:lvl1pPr marL="0" indent="0" algn="r">
              <a:buNone/>
              <a:defRPr sz="2000" baseline="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12" name="Text Placeholder 2"/>
          <p:cNvSpPr>
            <a:spLocks noGrp="1"/>
          </p:cNvSpPr>
          <p:nvPr>
            <p:ph type="body" idx="11" hasCustomPrompt="1"/>
          </p:nvPr>
        </p:nvSpPr>
        <p:spPr>
          <a:xfrm>
            <a:off x="963084" y="5098478"/>
            <a:ext cx="10363200" cy="661985"/>
          </a:xfrm>
          <a:prstGeom prst="rect">
            <a:avLst/>
          </a:prstGeom>
          <a:noFill/>
        </p:spPr>
        <p:txBody>
          <a:bodyPr anchor="ctr">
            <a:norm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lang="en-US"/>
              <a:t>CLICK TO EDIT MASTER TEXT STYLES</a:t>
            </a:r>
          </a:p>
        </p:txBody>
      </p:sp>
      <p:pic>
        <p:nvPicPr>
          <p:cNvPr id="13" name="Picture 12">
            <a:extLst>
              <a:ext uri="{FF2B5EF4-FFF2-40B4-BE49-F238E27FC236}">
                <a16:creationId xmlns:a16="http://schemas.microsoft.com/office/drawing/2014/main" id="{6A608621-A14E-4A01-8630-564B577D899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020" y="6107310"/>
            <a:ext cx="1371666" cy="673363"/>
          </a:xfrm>
          <a:prstGeom prst="rect">
            <a:avLst/>
          </a:prstGeom>
        </p:spPr>
      </p:pic>
      <p:pic>
        <p:nvPicPr>
          <p:cNvPr id="14" name="Picture 13">
            <a:extLst>
              <a:ext uri="{FF2B5EF4-FFF2-40B4-BE49-F238E27FC236}">
                <a16:creationId xmlns:a16="http://schemas.microsoft.com/office/drawing/2014/main" id="{BB22BF93-AF37-2047-93ED-D91FFC3B742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047981" y="6030986"/>
            <a:ext cx="9144019" cy="826010"/>
          </a:xfrm>
          <a:prstGeom prst="rect">
            <a:avLst/>
          </a:prstGeom>
        </p:spPr>
      </p:pic>
    </p:spTree>
    <p:extLst>
      <p:ext uri="{BB962C8B-B14F-4D97-AF65-F5344CB8AC3E}">
        <p14:creationId xmlns:p14="http://schemas.microsoft.com/office/powerpoint/2010/main" val="1205630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lai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1074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890"/>
            <a:ext cx="12192000" cy="826008"/>
          </a:xfrm>
          <a:prstGeom prst="rect">
            <a:avLst/>
          </a:prstGeom>
        </p:spPr>
      </p:pic>
      <p:sp>
        <p:nvSpPr>
          <p:cNvPr id="15" name="Title 1"/>
          <p:cNvSpPr>
            <a:spLocks noGrp="1"/>
          </p:cNvSpPr>
          <p:nvPr>
            <p:ph type="ctrTitle"/>
          </p:nvPr>
        </p:nvSpPr>
        <p:spPr>
          <a:xfrm>
            <a:off x="0" y="2"/>
            <a:ext cx="10972800" cy="826897"/>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4" name="Text Placeholder 3"/>
          <p:cNvSpPr>
            <a:spLocks noGrp="1"/>
          </p:cNvSpPr>
          <p:nvPr>
            <p:ph type="body" sz="quarter" idx="13" hasCustomPrompt="1"/>
          </p:nvPr>
        </p:nvSpPr>
        <p:spPr>
          <a:xfrm>
            <a:off x="0" y="827088"/>
            <a:ext cx="1930400" cy="163512"/>
          </a:xfrm>
          <a:prstGeom prst="rect">
            <a:avLst/>
          </a:prstGeom>
        </p:spPr>
        <p:txBody>
          <a:bodyPr anchor="ctr">
            <a:noAutofit/>
          </a:bodyPr>
          <a:lstStyle>
            <a:lvl1pPr marL="0" indent="0" algn="ctr">
              <a:buNone/>
              <a:defRPr sz="1000" baseline="0"/>
            </a:lvl1pPr>
            <a:lvl2pPr>
              <a:defRPr sz="1000"/>
            </a:lvl2pPr>
            <a:lvl3pPr>
              <a:defRPr sz="1000"/>
            </a:lvl3pPr>
            <a:lvl4pPr>
              <a:defRPr sz="1000"/>
            </a:lvl4pPr>
            <a:lvl5pPr>
              <a:defRPr sz="1000"/>
            </a:lvl5pPr>
          </a:lstStyle>
          <a:p>
            <a:pPr lvl="0"/>
            <a:r>
              <a:rPr lang="en-US"/>
              <a:t>OPTIONAL TEXT</a:t>
            </a:r>
          </a:p>
        </p:txBody>
      </p:sp>
      <p:sp>
        <p:nvSpPr>
          <p:cNvPr id="21"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a:p>
        </p:txBody>
      </p:sp>
      <p:pic>
        <p:nvPicPr>
          <p:cNvPr id="12" name="Picture 11">
            <a:extLst>
              <a:ext uri="{FF2B5EF4-FFF2-40B4-BE49-F238E27FC236}">
                <a16:creationId xmlns:a16="http://schemas.microsoft.com/office/drawing/2014/main" id="{8C8A4341-142E-4B60-9893-7EE46AEE48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601" y="6520712"/>
            <a:ext cx="611015" cy="299273"/>
          </a:xfrm>
          <a:prstGeom prst="rect">
            <a:avLst/>
          </a:prstGeom>
        </p:spPr>
      </p:pic>
      <p:pic>
        <p:nvPicPr>
          <p:cNvPr id="9" name="Picture 8">
            <a:extLst>
              <a:ext uri="{FF2B5EF4-FFF2-40B4-BE49-F238E27FC236}">
                <a16:creationId xmlns:a16="http://schemas.microsoft.com/office/drawing/2014/main" id="{EF61FA42-7533-5D44-A173-54AE67611AF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047981" y="-187"/>
            <a:ext cx="9144019" cy="826010"/>
          </a:xfrm>
          <a:prstGeom prst="rect">
            <a:avLst/>
          </a:prstGeom>
        </p:spPr>
      </p:pic>
    </p:spTree>
    <p:extLst>
      <p:ext uri="{BB962C8B-B14F-4D97-AF65-F5344CB8AC3E}">
        <p14:creationId xmlns:p14="http://schemas.microsoft.com/office/powerpoint/2010/main" val="39357052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lain Slide Slim Ba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40088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64000" y="890"/>
            <a:ext cx="8128000" cy="550672"/>
          </a:xfrm>
          <a:prstGeom prst="rect">
            <a:avLst/>
          </a:prstGeom>
        </p:spPr>
      </p:pic>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l="33188" r="15187"/>
          <a:stretch/>
        </p:blipFill>
        <p:spPr>
          <a:xfrm>
            <a:off x="0" y="-2"/>
            <a:ext cx="4267200" cy="551265"/>
          </a:xfrm>
          <a:prstGeom prst="rect">
            <a:avLst/>
          </a:prstGeom>
        </p:spPr>
      </p:pic>
      <p:sp>
        <p:nvSpPr>
          <p:cNvPr id="15" name="Title 1"/>
          <p:cNvSpPr>
            <a:spLocks noGrp="1"/>
          </p:cNvSpPr>
          <p:nvPr>
            <p:ph type="ctrTitle"/>
          </p:nvPr>
        </p:nvSpPr>
        <p:spPr>
          <a:xfrm>
            <a:off x="0" y="2"/>
            <a:ext cx="10972800" cy="551263"/>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9" name="Text Placeholder 3"/>
          <p:cNvSpPr>
            <a:spLocks noGrp="1"/>
          </p:cNvSpPr>
          <p:nvPr>
            <p:ph type="body" sz="quarter" idx="13" hasCustomPrompt="1"/>
          </p:nvPr>
        </p:nvSpPr>
        <p:spPr>
          <a:xfrm>
            <a:off x="0" y="560961"/>
            <a:ext cx="1930400" cy="163512"/>
          </a:xfrm>
          <a:prstGeom prst="rect">
            <a:avLst/>
          </a:prstGeom>
        </p:spPr>
        <p:txBody>
          <a:bodyPr anchor="ctr">
            <a:noAutofit/>
          </a:bodyPr>
          <a:lstStyle>
            <a:lvl1pPr marL="0" indent="0" algn="ctr">
              <a:buNone/>
              <a:defRPr sz="1000" baseline="0"/>
            </a:lvl1pPr>
            <a:lvl2pPr>
              <a:defRPr sz="1000"/>
            </a:lvl2pPr>
            <a:lvl3pPr>
              <a:defRPr sz="1000"/>
            </a:lvl3pPr>
            <a:lvl4pPr>
              <a:defRPr sz="1000"/>
            </a:lvl4pPr>
            <a:lvl5pPr>
              <a:defRPr sz="1000"/>
            </a:lvl5pPr>
          </a:lstStyle>
          <a:p>
            <a:pPr lvl="0"/>
            <a:r>
              <a:rPr lang="en-US"/>
              <a:t>OPTIONAL TEXT</a:t>
            </a:r>
          </a:p>
        </p:txBody>
      </p:sp>
      <p:sp>
        <p:nvSpPr>
          <p:cNvPr id="24"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a:p>
        </p:txBody>
      </p:sp>
      <p:pic>
        <p:nvPicPr>
          <p:cNvPr id="11" name="Picture 10">
            <a:extLst>
              <a:ext uri="{FF2B5EF4-FFF2-40B4-BE49-F238E27FC236}">
                <a16:creationId xmlns:a16="http://schemas.microsoft.com/office/drawing/2014/main" id="{0E323DB8-925D-477D-B55D-760E81C70B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601" y="6520712"/>
            <a:ext cx="611015" cy="299273"/>
          </a:xfrm>
          <a:prstGeom prst="rect">
            <a:avLst/>
          </a:prstGeom>
        </p:spPr>
      </p:pic>
      <p:pic>
        <p:nvPicPr>
          <p:cNvPr id="10" name="Picture 9">
            <a:extLst>
              <a:ext uri="{FF2B5EF4-FFF2-40B4-BE49-F238E27FC236}">
                <a16:creationId xmlns:a16="http://schemas.microsoft.com/office/drawing/2014/main" id="{B4B21BA2-B7CB-6D41-BAC9-76B4B8C1226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129748" y="-2"/>
            <a:ext cx="6062252" cy="557786"/>
          </a:xfrm>
          <a:prstGeom prst="rect">
            <a:avLst/>
          </a:prstGeom>
        </p:spPr>
      </p:pic>
    </p:spTree>
    <p:extLst>
      <p:ext uri="{BB962C8B-B14F-4D97-AF65-F5344CB8AC3E}">
        <p14:creationId xmlns:p14="http://schemas.microsoft.com/office/powerpoint/2010/main" val="2224456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with Slim Ba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64000" y="890"/>
            <a:ext cx="8128000" cy="550672"/>
          </a:xfrm>
          <a:prstGeom prst="rect">
            <a:avLst/>
          </a:prstGeom>
        </p:spPr>
      </p:pic>
      <p:pic>
        <p:nvPicPr>
          <p:cNvPr id="14" name="Picture 13"/>
          <p:cNvPicPr>
            <a:picLocks noChangeAspect="1"/>
          </p:cNvPicPr>
          <p:nvPr userDrawn="1"/>
        </p:nvPicPr>
        <p:blipFill rotWithShape="1">
          <a:blip r:embed="rId7" cstate="print">
            <a:extLst>
              <a:ext uri="{28A0092B-C50C-407E-A947-70E740481C1C}">
                <a14:useLocalDpi xmlns:a14="http://schemas.microsoft.com/office/drawing/2010/main" val="0"/>
              </a:ext>
            </a:extLst>
          </a:blip>
          <a:srcRect l="33188" r="15187"/>
          <a:stretch/>
        </p:blipFill>
        <p:spPr>
          <a:xfrm>
            <a:off x="0" y="-2"/>
            <a:ext cx="4267200" cy="551265"/>
          </a:xfrm>
          <a:prstGeom prst="rect">
            <a:avLst/>
          </a:prstGeom>
        </p:spPr>
      </p:pic>
      <p:sp>
        <p:nvSpPr>
          <p:cNvPr id="16" name="Title 1"/>
          <p:cNvSpPr>
            <a:spLocks noGrp="1"/>
          </p:cNvSpPr>
          <p:nvPr>
            <p:ph type="ctrTitle"/>
          </p:nvPr>
        </p:nvSpPr>
        <p:spPr>
          <a:xfrm>
            <a:off x="0" y="2"/>
            <a:ext cx="10972800" cy="551263"/>
          </a:xfrm>
        </p:spPr>
        <p:txBody>
          <a:bodyPr>
            <a:normAutofit/>
          </a:bodyPr>
          <a:lstStyle>
            <a:lvl1pPr algn="l" defTabSz="914400" rtl="0" eaLnBrk="1" latinLnBrk="0" hangingPunct="1">
              <a:spcBef>
                <a:spcPct val="0"/>
              </a:spcBef>
              <a:buNone/>
              <a:defRPr lang="en-US" sz="2400" b="1" kern="1200" dirty="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1" name="Text Placeholder 5"/>
          <p:cNvSpPr>
            <a:spLocks noGrp="1"/>
          </p:cNvSpPr>
          <p:nvPr>
            <p:ph type="body" sz="quarter" idx="15"/>
          </p:nvPr>
        </p:nvSpPr>
        <p:spPr>
          <a:xfrm>
            <a:off x="2431988" y="1600200"/>
            <a:ext cx="7328024" cy="4572000"/>
          </a:xfrm>
          <a:prstGeom prst="rect">
            <a:avLst/>
          </a:prstGeom>
        </p:spPr>
        <p:txBody>
          <a:bodyPr/>
          <a:lstStyle>
            <a:lvl1pPr marL="173038" indent="-173038">
              <a:defRPr sz="2800" b="1"/>
            </a:lvl1pPr>
            <a:lvl2pPr marL="344488" indent="-171450">
              <a:defRPr sz="2400" b="1"/>
            </a:lvl2pPr>
            <a:lvl3pPr marL="517525" indent="-173038">
              <a:defRPr sz="2000" b="1"/>
            </a:lvl3pPr>
            <a:lvl4pPr marL="741363" indent="-169863">
              <a:defRPr sz="1800" b="1"/>
            </a:lvl4pPr>
            <a:lvl5pPr marL="914400" indent="-173038">
              <a:buFont typeface="Arial" panose="020B0604020202020204" pitchFamily="34" charset="0"/>
              <a:buChar char="•"/>
              <a:defRPr sz="1800" b="1"/>
            </a:lvl5pPr>
            <a:lvl6pPr marL="914400" indent="0">
              <a:buNone/>
              <a:defRPr sz="1200"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a:p>
        </p:txBody>
      </p:sp>
      <p:pic>
        <p:nvPicPr>
          <p:cNvPr id="12" name="Picture 11">
            <a:extLst>
              <a:ext uri="{FF2B5EF4-FFF2-40B4-BE49-F238E27FC236}">
                <a16:creationId xmlns:a16="http://schemas.microsoft.com/office/drawing/2014/main" id="{4D8A8A86-C295-4361-AF38-B2638FC53E9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1601" y="6520712"/>
            <a:ext cx="611015" cy="299273"/>
          </a:xfrm>
          <a:prstGeom prst="rect">
            <a:avLst/>
          </a:prstGeom>
        </p:spPr>
      </p:pic>
      <p:pic>
        <p:nvPicPr>
          <p:cNvPr id="9" name="Picture 8">
            <a:extLst>
              <a:ext uri="{FF2B5EF4-FFF2-40B4-BE49-F238E27FC236}">
                <a16:creationId xmlns:a16="http://schemas.microsoft.com/office/drawing/2014/main" id="{AFD271F4-9F4C-E946-93F2-2DA95B446CE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096000" y="-295"/>
            <a:ext cx="6096000" cy="550673"/>
          </a:xfrm>
          <a:prstGeom prst="rect">
            <a:avLst/>
          </a:prstGeom>
        </p:spPr>
      </p:pic>
    </p:spTree>
    <p:extLst>
      <p:ext uri="{BB962C8B-B14F-4D97-AF65-F5344CB8AC3E}">
        <p14:creationId xmlns:p14="http://schemas.microsoft.com/office/powerpoint/2010/main" val="3207177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ptional End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031546"/>
            <a:ext cx="12192000" cy="826008"/>
          </a:xfrm>
          <a:prstGeom prst="rect">
            <a:avLst/>
          </a:prstGeom>
        </p:spPr>
      </p:pic>
      <p:sp>
        <p:nvSpPr>
          <p:cNvPr id="10" name="TextBox 9"/>
          <p:cNvSpPr txBox="1"/>
          <p:nvPr userDrawn="1"/>
        </p:nvSpPr>
        <p:spPr>
          <a:xfrm>
            <a:off x="4202786" y="6184146"/>
            <a:ext cx="3786429" cy="533400"/>
          </a:xfrm>
          <a:prstGeom prst="rect">
            <a:avLst/>
          </a:prstGeom>
          <a:noFill/>
          <a:ln w="28575">
            <a:noFill/>
          </a:ln>
          <a:effectLst/>
        </p:spPr>
        <p:txBody>
          <a:bodyPr vert="horz" wrap="square" lIns="91440" tIns="45720" rIns="91440" bIns="45720" rtlCol="0" anchor="ctr">
            <a:noAutofit/>
          </a:bodyPr>
          <a:lstStyle/>
          <a:p>
            <a:pPr algn="ctr"/>
            <a:r>
              <a:rPr lang="en-US" sz="2400" b="1">
                <a:solidFill>
                  <a:schemeClr val="bg1"/>
                </a:solidFill>
              </a:rPr>
              <a:t>nyc.gov/planning</a:t>
            </a:r>
          </a:p>
        </p:txBody>
      </p:sp>
      <p:sp>
        <p:nvSpPr>
          <p:cNvPr id="11" name="Text Placeholder 5"/>
          <p:cNvSpPr>
            <a:spLocks noGrp="1"/>
          </p:cNvSpPr>
          <p:nvPr>
            <p:ph type="body" sz="quarter" idx="15"/>
          </p:nvPr>
        </p:nvSpPr>
        <p:spPr>
          <a:xfrm>
            <a:off x="2438400" y="685800"/>
            <a:ext cx="7315200" cy="4572000"/>
          </a:xfrm>
          <a:prstGeom prst="rect">
            <a:avLst/>
          </a:prstGeom>
        </p:spPr>
        <p:txBody>
          <a:bodyPr/>
          <a:lstStyle>
            <a:lvl1pPr marL="173038" indent="-173038">
              <a:defRPr sz="2400">
                <a:latin typeface="Arial" panose="020B0604020202020204" pitchFamily="34" charset="0"/>
                <a:cs typeface="Arial" panose="020B0604020202020204" pitchFamily="34" charset="0"/>
              </a:defRPr>
            </a:lvl1pPr>
            <a:lvl2pPr marL="344488" indent="-171450">
              <a:defRPr sz="2000">
                <a:latin typeface="Arial" panose="020B0604020202020204" pitchFamily="34" charset="0"/>
                <a:cs typeface="Arial" panose="020B0604020202020204" pitchFamily="34" charset="0"/>
              </a:defRPr>
            </a:lvl2pPr>
            <a:lvl3pPr marL="517525" indent="-173038">
              <a:defRPr sz="1800">
                <a:latin typeface="Arial" panose="020B0604020202020204" pitchFamily="34" charset="0"/>
                <a:cs typeface="Arial" panose="020B0604020202020204" pitchFamily="34" charset="0"/>
              </a:defRPr>
            </a:lvl3pPr>
            <a:lvl4pPr marL="741363" indent="-169863">
              <a:defRPr sz="1600">
                <a:latin typeface="Arial" panose="020B0604020202020204" pitchFamily="34" charset="0"/>
                <a:cs typeface="Arial" panose="020B0604020202020204" pitchFamily="34" charset="0"/>
              </a:defRPr>
            </a:lvl4pPr>
            <a:lvl5pPr marL="914400" indent="-173038">
              <a:buFont typeface="Arial" panose="020B0604020202020204" pitchFamily="34" charset="0"/>
              <a:buChar char="•"/>
              <a:defRPr sz="1400">
                <a:latin typeface="Arial" panose="020B0604020202020204" pitchFamily="34" charset="0"/>
                <a:cs typeface="Arial" panose="020B0604020202020204" pitchFamily="34" charset="0"/>
              </a:defRPr>
            </a:lvl5pPr>
            <a:lvl6pPr marL="1087438" indent="-173038">
              <a:defRPr sz="1200" baseline="0">
                <a:latin typeface="Arial" panose="020B0604020202020204" pitchFamily="34" charset="0"/>
                <a:cs typeface="Arial" panose="020B0604020202020204" pitchFamily="34" charset="0"/>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userDrawn="1"/>
        </p:nvSpPr>
        <p:spPr>
          <a:xfrm>
            <a:off x="0" y="0"/>
            <a:ext cx="4470400" cy="261610"/>
          </a:xfrm>
          <a:prstGeom prst="rect">
            <a:avLst/>
          </a:prstGeom>
          <a:noFill/>
        </p:spPr>
        <p:txBody>
          <a:bodyPr wrap="square" rtlCol="0" anchor="b">
            <a:spAutoFit/>
          </a:bodyPr>
          <a:lstStyle/>
          <a:p>
            <a:r>
              <a:rPr lang="en-US" sz="1100" b="1">
                <a:solidFill>
                  <a:schemeClr val="bg2"/>
                </a:solidFill>
              </a:rPr>
              <a:t>DRAFT</a:t>
            </a:r>
          </a:p>
        </p:txBody>
      </p:sp>
      <p:pic>
        <p:nvPicPr>
          <p:cNvPr id="12" name="Picture 11">
            <a:extLst>
              <a:ext uri="{FF2B5EF4-FFF2-40B4-BE49-F238E27FC236}">
                <a16:creationId xmlns:a16="http://schemas.microsoft.com/office/drawing/2014/main" id="{88E1619A-54D3-4BC4-86CA-454F5B0ADE8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020" y="6107310"/>
            <a:ext cx="1371666" cy="673363"/>
          </a:xfrm>
          <a:prstGeom prst="rect">
            <a:avLst/>
          </a:prstGeom>
        </p:spPr>
      </p:pic>
    </p:spTree>
    <p:extLst>
      <p:ext uri="{BB962C8B-B14F-4D97-AF65-F5344CB8AC3E}">
        <p14:creationId xmlns:p14="http://schemas.microsoft.com/office/powerpoint/2010/main" val="3664923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32023375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0"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7"/>
          <p:cNvSpPr>
            <a:spLocks noGrp="1"/>
          </p:cNvSpPr>
          <p:nvPr>
            <p:ph type="sldNum" sz="quarter" idx="4"/>
          </p:nvPr>
        </p:nvSpPr>
        <p:spPr>
          <a:xfrm>
            <a:off x="11277601" y="6585944"/>
            <a:ext cx="914400" cy="221512"/>
          </a:xfrm>
          <a:prstGeom prst="rect">
            <a:avLst/>
          </a:prstGeom>
        </p:spPr>
        <p:txBody>
          <a:bodyPr vert="horz" lIns="0" tIns="45720" rIns="137160" bIns="45720" rtlCol="0" anchor="ctr"/>
          <a:lstStyle>
            <a:lvl1pPr algn="r">
              <a:defRPr sz="900">
                <a:solidFill>
                  <a:schemeClr val="tx1"/>
                </a:solidFill>
              </a:defRPr>
            </a:lvl1pPr>
          </a:lstStyle>
          <a:p>
            <a:fld id="{623B5F94-9D18-4CD7-A9B2-82F39252AEEB}" type="slidenum">
              <a:rPr lang="en-US" smtClean="0"/>
              <a:pPr/>
              <a:t>‹#›</a:t>
            </a:fld>
            <a:endParaRPr lang="en-US"/>
          </a:p>
        </p:txBody>
      </p:sp>
      <p:sp>
        <p:nvSpPr>
          <p:cNvPr id="8" name="TextBox 7">
            <a:extLst>
              <a:ext uri="{FF2B5EF4-FFF2-40B4-BE49-F238E27FC236}">
                <a16:creationId xmlns:a16="http://schemas.microsoft.com/office/drawing/2014/main" id="{892C32C2-73D7-45DA-8755-2A0C4259CF1E}"/>
              </a:ext>
            </a:extLst>
          </p:cNvPr>
          <p:cNvSpPr txBox="1"/>
          <p:nvPr userDrawn="1"/>
        </p:nvSpPr>
        <p:spPr>
          <a:xfrm>
            <a:off x="10706469" y="6576624"/>
            <a:ext cx="1180731" cy="230832"/>
          </a:xfrm>
          <a:prstGeom prst="rect">
            <a:avLst/>
          </a:prstGeom>
          <a:noFill/>
        </p:spPr>
        <p:txBody>
          <a:bodyPr wrap="square" rtlCol="0" anchor="b">
            <a:spAutoFit/>
          </a:bodyPr>
          <a:lstStyle/>
          <a:p>
            <a:r>
              <a:rPr lang="en-US" sz="900" b="1">
                <a:solidFill>
                  <a:schemeClr val="bg2"/>
                </a:solidFill>
              </a:rPr>
              <a:t>August 11, 2020</a:t>
            </a:r>
          </a:p>
        </p:txBody>
      </p:sp>
    </p:spTree>
  </p:cSld>
  <p:clrMap bg1="lt1" tx1="dk1" bg2="lt2" tx2="dk2" accent1="accent1" accent2="accent2" accent3="accent3" accent4="accent4" accent5="accent5" accent6="accent6" hlink="hlink" folHlink="folHlink"/>
  <p:sldLayoutIdLst>
    <p:sldLayoutId id="2147483661" r:id="rId1"/>
    <p:sldLayoutId id="2147483664" r:id="rId2"/>
    <p:sldLayoutId id="2147483690" r:id="rId3"/>
    <p:sldLayoutId id="2147483695" r:id="rId4"/>
    <p:sldLayoutId id="214748369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342900" indent="-1714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514350" indent="-17145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800" indent="-1714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857250" indent="-17145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1028700" indent="-171450" algn="l" defTabSz="914400" rtl="0" eaLnBrk="1" latinLnBrk="0" hangingPunct="1">
        <a:lnSpc>
          <a:spcPct val="90000"/>
        </a:lnSpc>
        <a:spcBef>
          <a:spcPts val="500"/>
        </a:spcBef>
        <a:buFont typeface="Arial" panose="020B0604020202020204" pitchFamily="34" charset="0"/>
        <a:buChar char="•"/>
        <a:defRPr sz="1400" kern="1200" baseline="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hyperlink" Target="mailto:lsmith@planning.nyc.gov"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hyperlink" Target="https://new.mta.info/coronavirus/ridership"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hyperlink" Target="http://web.mta.info/developers/turnstile.html" TargetMode="Externa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084" y="3086193"/>
            <a:ext cx="10363200" cy="1362075"/>
          </a:xfrm>
        </p:spPr>
        <p:txBody>
          <a:bodyPr/>
          <a:lstStyle/>
          <a:p>
            <a:r>
              <a:rPr lang="en-US">
                <a:latin typeface="Arial"/>
                <a:cs typeface="Arial"/>
              </a:rPr>
              <a:t>COVID19 Impacts on Transportation</a:t>
            </a:r>
          </a:p>
        </p:txBody>
      </p:sp>
      <p:sp>
        <p:nvSpPr>
          <p:cNvPr id="3" name="Text Placeholder 2"/>
          <p:cNvSpPr>
            <a:spLocks noGrp="1"/>
          </p:cNvSpPr>
          <p:nvPr>
            <p:ph type="body" idx="1"/>
          </p:nvPr>
        </p:nvSpPr>
        <p:spPr/>
        <p:txBody>
          <a:bodyPr/>
          <a:lstStyle/>
          <a:p>
            <a:r>
              <a:rPr lang="en-US"/>
              <a:t>Produced by the NYC Department of City Planning’s Transportation Division</a:t>
            </a:r>
          </a:p>
        </p:txBody>
      </p:sp>
      <p:sp>
        <p:nvSpPr>
          <p:cNvPr id="4" name="Text Placeholder 3"/>
          <p:cNvSpPr>
            <a:spLocks noGrp="1"/>
          </p:cNvSpPr>
          <p:nvPr>
            <p:ph type="body" idx="11"/>
          </p:nvPr>
        </p:nvSpPr>
        <p:spPr/>
        <p:txBody>
          <a:bodyPr/>
          <a:lstStyle/>
          <a:p>
            <a:r>
              <a:rPr lang="en-US">
                <a:latin typeface="Arial"/>
                <a:cs typeface="Arial"/>
              </a:rPr>
              <a:t>August 11, 20</a:t>
            </a:r>
            <a:r>
              <a:rPr lang="en-US" altLang="zh-CN">
                <a:latin typeface="Arial"/>
                <a:ea typeface="黑体"/>
                <a:cs typeface="Arial"/>
              </a:rPr>
              <a:t>20</a:t>
            </a:r>
            <a:endParaRPr lang="en-US"/>
          </a:p>
        </p:txBody>
      </p:sp>
    </p:spTree>
    <p:extLst>
      <p:ext uri="{BB962C8B-B14F-4D97-AF65-F5344CB8AC3E}">
        <p14:creationId xmlns:p14="http://schemas.microsoft.com/office/powerpoint/2010/main" val="866642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1D077-E58A-418D-809E-BDA3D7F64E57}"/>
              </a:ext>
            </a:extLst>
          </p:cNvPr>
          <p:cNvSpPr>
            <a:spLocks noGrp="1"/>
          </p:cNvSpPr>
          <p:nvPr>
            <p:ph type="ctrTitle"/>
          </p:nvPr>
        </p:nvSpPr>
        <p:spPr/>
        <p:txBody>
          <a:bodyPr/>
          <a:lstStyle/>
          <a:p>
            <a:r>
              <a:rPr lang="en-US"/>
              <a:t>Introduction</a:t>
            </a:r>
          </a:p>
        </p:txBody>
      </p:sp>
      <p:sp>
        <p:nvSpPr>
          <p:cNvPr id="3" name="Text Placeholder 2">
            <a:extLst>
              <a:ext uri="{FF2B5EF4-FFF2-40B4-BE49-F238E27FC236}">
                <a16:creationId xmlns:a16="http://schemas.microsoft.com/office/drawing/2014/main" id="{D2AC686F-77B0-4B98-9400-AE95D8E98FF4}"/>
              </a:ext>
            </a:extLst>
          </p:cNvPr>
          <p:cNvSpPr>
            <a:spLocks noGrp="1"/>
          </p:cNvSpPr>
          <p:nvPr>
            <p:ph type="body" sz="quarter" idx="15"/>
          </p:nvPr>
        </p:nvSpPr>
        <p:spPr>
          <a:xfrm>
            <a:off x="907988" y="922867"/>
            <a:ext cx="10624882" cy="5663077"/>
          </a:xfrm>
        </p:spPr>
        <p:txBody>
          <a:bodyPr vert="horz" lIns="91440" tIns="45720" rIns="91440" bIns="45720" rtlCol="0" anchor="t">
            <a:normAutofit lnSpcReduction="10000"/>
          </a:bodyPr>
          <a:lstStyle/>
          <a:p>
            <a:pPr marL="172720" indent="-172720">
              <a:lnSpc>
                <a:spcPct val="100000"/>
              </a:lnSpc>
              <a:spcBef>
                <a:spcPts val="2000"/>
              </a:spcBef>
            </a:pPr>
            <a:r>
              <a:rPr lang="en-US" sz="1600" b="0">
                <a:latin typeface="Arial"/>
                <a:cs typeface="Arial"/>
              </a:rPr>
              <a:t>The NYC Department of City Planning's Transportation Division is compiling data to help understand the effects of COVID19 on the transportation network.  This is our twentieth weekly report.</a:t>
            </a:r>
          </a:p>
          <a:p>
            <a:pPr marL="172720" indent="-172720">
              <a:lnSpc>
                <a:spcPct val="100000"/>
              </a:lnSpc>
              <a:spcBef>
                <a:spcPts val="2000"/>
              </a:spcBef>
            </a:pPr>
            <a:r>
              <a:rPr lang="en-US" sz="1600" b="0">
                <a:latin typeface="Arial"/>
                <a:cs typeface="Arial"/>
              </a:rPr>
              <a:t>This will likely be our final weekly report before Labor Day.  We’ll continue to watch travel behavior closely and will resume our reporting existing conditions in September, on a weekly or less frequent basis.</a:t>
            </a:r>
          </a:p>
          <a:p>
            <a:pPr marL="172720" indent="-172720">
              <a:lnSpc>
                <a:spcPct val="100000"/>
              </a:lnSpc>
              <a:spcBef>
                <a:spcPts val="2000"/>
              </a:spcBef>
            </a:pPr>
            <a:r>
              <a:rPr lang="en-US" sz="1600" b="0">
                <a:latin typeface="Arial"/>
                <a:cs typeface="Arial"/>
              </a:rPr>
              <a:t>This week’s report includes the following information:</a:t>
            </a:r>
          </a:p>
          <a:p>
            <a:pPr marL="911225" lvl="3" indent="-342900">
              <a:lnSpc>
                <a:spcPct val="100000"/>
              </a:lnSpc>
              <a:spcBef>
                <a:spcPts val="600"/>
              </a:spcBef>
              <a:buFont typeface="+mj-lt"/>
              <a:buAutoNum type="arabicPeriod"/>
            </a:pPr>
            <a:r>
              <a:rPr lang="en-US" sz="1400" b="0">
                <a:latin typeface="Arial"/>
                <a:cs typeface="Arial"/>
              </a:rPr>
              <a:t>Executive Summary</a:t>
            </a:r>
          </a:p>
          <a:p>
            <a:pPr marL="911225" lvl="3" indent="-342900">
              <a:lnSpc>
                <a:spcPct val="100000"/>
              </a:lnSpc>
              <a:spcBef>
                <a:spcPts val="600"/>
              </a:spcBef>
              <a:buFont typeface="+mj-lt"/>
              <a:buAutoNum type="arabicPeriod"/>
            </a:pPr>
            <a:r>
              <a:rPr lang="en-US" sz="1400" b="0">
                <a:latin typeface="Arial"/>
                <a:cs typeface="Arial"/>
              </a:rPr>
              <a:t>Citywide Trends</a:t>
            </a:r>
          </a:p>
          <a:p>
            <a:pPr marL="911225" lvl="3" indent="-342900">
              <a:lnSpc>
                <a:spcPct val="100000"/>
              </a:lnSpc>
              <a:spcBef>
                <a:spcPts val="600"/>
              </a:spcBef>
              <a:buFont typeface="+mj-lt"/>
              <a:buAutoNum type="arabicPeriod"/>
            </a:pPr>
            <a:r>
              <a:rPr lang="en-US" sz="1400" b="0">
                <a:latin typeface="Arial"/>
                <a:cs typeface="Arial"/>
              </a:rPr>
              <a:t>MTA: Subway and Bus</a:t>
            </a:r>
          </a:p>
          <a:p>
            <a:pPr marL="911225" lvl="3" indent="-342900">
              <a:lnSpc>
                <a:spcPct val="100000"/>
              </a:lnSpc>
              <a:spcBef>
                <a:spcPts val="600"/>
              </a:spcBef>
              <a:buFont typeface="+mj-lt"/>
              <a:buAutoNum type="arabicPeriod"/>
            </a:pPr>
            <a:r>
              <a:rPr lang="en-US" sz="1400" b="0">
                <a:latin typeface="Arial"/>
                <a:cs typeface="Arial"/>
              </a:rPr>
              <a:t>MTA: </a:t>
            </a:r>
            <a:r>
              <a:rPr lang="en-US" sz="1400" b="0"/>
              <a:t>Metro North Railroad, Long Island Rail Road, Access-A-Ride</a:t>
            </a:r>
          </a:p>
          <a:p>
            <a:pPr marL="911225" lvl="3" indent="-342900">
              <a:lnSpc>
                <a:spcPct val="100000"/>
              </a:lnSpc>
              <a:spcBef>
                <a:spcPts val="600"/>
              </a:spcBef>
              <a:buFont typeface="+mj-lt"/>
              <a:buAutoNum type="arabicPeriod"/>
            </a:pPr>
            <a:r>
              <a:rPr lang="en-US" sz="1400" b="0">
                <a:latin typeface="Arial"/>
                <a:cs typeface="Arial"/>
              </a:rPr>
              <a:t>Ferry</a:t>
            </a:r>
          </a:p>
          <a:p>
            <a:pPr marL="911225" lvl="3" indent="-342900">
              <a:lnSpc>
                <a:spcPct val="100000"/>
              </a:lnSpc>
              <a:spcBef>
                <a:spcPts val="600"/>
              </a:spcBef>
              <a:buFont typeface="+mj-lt"/>
              <a:buAutoNum type="arabicPeriod"/>
            </a:pPr>
            <a:r>
              <a:rPr lang="en-US" sz="1400" b="0">
                <a:latin typeface="Arial"/>
                <a:cs typeface="Arial"/>
              </a:rPr>
              <a:t>Traffic</a:t>
            </a:r>
          </a:p>
          <a:p>
            <a:pPr marL="911225" lvl="3" indent="-342900">
              <a:lnSpc>
                <a:spcPct val="100000"/>
              </a:lnSpc>
              <a:spcBef>
                <a:spcPts val="600"/>
              </a:spcBef>
              <a:buFont typeface="+mj-lt"/>
              <a:buAutoNum type="arabicPeriod"/>
            </a:pPr>
            <a:r>
              <a:rPr lang="en-US" sz="1400" b="0">
                <a:latin typeface="Arial"/>
                <a:cs typeface="Arial"/>
              </a:rPr>
              <a:t>Citi Bike</a:t>
            </a:r>
          </a:p>
          <a:p>
            <a:pPr marL="911225" lvl="3" indent="-342900">
              <a:lnSpc>
                <a:spcPct val="100000"/>
              </a:lnSpc>
              <a:spcBef>
                <a:spcPts val="600"/>
              </a:spcBef>
              <a:buFont typeface="+mj-lt"/>
              <a:buAutoNum type="arabicPeriod"/>
            </a:pPr>
            <a:r>
              <a:rPr lang="en-US" sz="1400" b="0">
                <a:latin typeface="Arial"/>
                <a:cs typeface="Arial"/>
              </a:rPr>
              <a:t>Cell Phone-based Mobility</a:t>
            </a:r>
          </a:p>
          <a:p>
            <a:pPr marL="911225" lvl="3" indent="-342900">
              <a:lnSpc>
                <a:spcPct val="100000"/>
              </a:lnSpc>
              <a:spcBef>
                <a:spcPts val="600"/>
              </a:spcBef>
              <a:buFont typeface="+mj-lt"/>
              <a:buAutoNum type="arabicPeriod"/>
            </a:pPr>
            <a:r>
              <a:rPr lang="en-US" sz="1400" b="0">
                <a:latin typeface="Arial"/>
                <a:cs typeface="Arial"/>
              </a:rPr>
              <a:t>Timeline</a:t>
            </a:r>
          </a:p>
          <a:p>
            <a:pPr marL="911225" lvl="3" indent="-342900">
              <a:lnSpc>
                <a:spcPct val="100000"/>
              </a:lnSpc>
              <a:spcBef>
                <a:spcPts val="600"/>
              </a:spcBef>
              <a:buFont typeface="+mj-lt"/>
              <a:buAutoNum type="arabicPeriod"/>
            </a:pPr>
            <a:endParaRPr lang="en-US" sz="1400" b="0">
              <a:latin typeface="Arial"/>
              <a:cs typeface="Arial"/>
            </a:endParaRPr>
          </a:p>
          <a:p>
            <a:pPr marL="172720" indent="-172720">
              <a:lnSpc>
                <a:spcPct val="100000"/>
              </a:lnSpc>
              <a:spcBef>
                <a:spcPts val="2000"/>
              </a:spcBef>
            </a:pPr>
            <a:r>
              <a:rPr lang="en-US" sz="1600" b="0">
                <a:latin typeface="Arial"/>
                <a:cs typeface="Arial"/>
              </a:rPr>
              <a:t>This report may serve to help in pandemic response and longer-term recovery. We are eager for feedback in how to make this more useful.  Feel free to reach out to Laura Smith (</a:t>
            </a:r>
            <a:r>
              <a:rPr lang="en-US" sz="1600" b="0">
                <a:latin typeface="Arial"/>
                <a:cs typeface="Arial"/>
                <a:hlinkClick r:id="rId2">
                  <a:extLst>
                    <a:ext uri="{A12FA001-AC4F-418D-AE19-62706E023703}">
                      <ahyp:hlinkClr xmlns:ahyp="http://schemas.microsoft.com/office/drawing/2018/hyperlinkcolor" val="tx"/>
                    </a:ext>
                  </a:extLst>
                </a:hlinkClick>
              </a:rPr>
              <a:t>lsmith@planning.nyc.gov</a:t>
            </a:r>
            <a:r>
              <a:rPr lang="en-US" sz="1600" b="0">
                <a:latin typeface="Arial"/>
                <a:cs typeface="Arial"/>
              </a:rPr>
              <a:t>) with questions or comments.</a:t>
            </a:r>
            <a:endParaRPr lang="en-US" sz="1600"/>
          </a:p>
          <a:p>
            <a:pPr marL="0" indent="0">
              <a:buNone/>
            </a:pPr>
            <a:endParaRPr lang="en-US" sz="1600" b="0">
              <a:latin typeface="Arial"/>
              <a:cs typeface="Arial"/>
            </a:endParaRPr>
          </a:p>
        </p:txBody>
      </p:sp>
      <p:sp>
        <p:nvSpPr>
          <p:cNvPr id="4" name="Slide Number Placeholder 3">
            <a:extLst>
              <a:ext uri="{FF2B5EF4-FFF2-40B4-BE49-F238E27FC236}">
                <a16:creationId xmlns:a16="http://schemas.microsoft.com/office/drawing/2014/main" id="{721E0948-EA72-40E5-BCD4-F2496882B08A}"/>
              </a:ext>
            </a:extLst>
          </p:cNvPr>
          <p:cNvSpPr>
            <a:spLocks noGrp="1"/>
          </p:cNvSpPr>
          <p:nvPr>
            <p:ph type="sldNum" sz="quarter" idx="4"/>
          </p:nvPr>
        </p:nvSpPr>
        <p:spPr/>
        <p:txBody>
          <a:bodyPr/>
          <a:lstStyle/>
          <a:p>
            <a:fld id="{623B5F94-9D18-4CD7-A9B2-82F39252AEEB}" type="slidenum">
              <a:rPr lang="en-US" smtClean="0"/>
              <a:pPr/>
              <a:t>2</a:t>
            </a:fld>
            <a:endParaRPr lang="en-US"/>
          </a:p>
        </p:txBody>
      </p:sp>
    </p:spTree>
    <p:extLst>
      <p:ext uri="{BB962C8B-B14F-4D97-AF65-F5344CB8AC3E}">
        <p14:creationId xmlns:p14="http://schemas.microsoft.com/office/powerpoint/2010/main" val="4030096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CFFA1B36-5CB1-D24F-9F81-D8B570EAAA25}"/>
              </a:ext>
            </a:extLst>
          </p:cNvPr>
          <p:cNvGraphicFramePr>
            <a:graphicFrameLocks/>
          </p:cNvGraphicFramePr>
          <p:nvPr>
            <p:extLst>
              <p:ext uri="{D42A27DB-BD31-4B8C-83A1-F6EECF244321}">
                <p14:modId xmlns:p14="http://schemas.microsoft.com/office/powerpoint/2010/main" val="656703684"/>
              </p:ext>
            </p:extLst>
          </p:nvPr>
        </p:nvGraphicFramePr>
        <p:xfrm>
          <a:off x="0" y="584937"/>
          <a:ext cx="8019393" cy="565392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FF6A9B6-BBBB-4C91-BB36-53BD5FAB6C0D}"/>
              </a:ext>
            </a:extLst>
          </p:cNvPr>
          <p:cNvSpPr>
            <a:spLocks noGrp="1"/>
          </p:cNvSpPr>
          <p:nvPr>
            <p:ph type="ctrTitle"/>
          </p:nvPr>
        </p:nvSpPr>
        <p:spPr/>
        <p:txBody>
          <a:bodyPr/>
          <a:lstStyle/>
          <a:p>
            <a:r>
              <a:rPr lang="en-US">
                <a:latin typeface="Arial"/>
                <a:cs typeface="Arial"/>
              </a:rPr>
              <a:t>MTA Bus System-wide Ridership Changes</a:t>
            </a:r>
            <a:endParaRPr lang="en-US"/>
          </a:p>
        </p:txBody>
      </p:sp>
      <p:sp>
        <p:nvSpPr>
          <p:cNvPr id="4" name="Slide Number Placeholder 3">
            <a:extLst>
              <a:ext uri="{FF2B5EF4-FFF2-40B4-BE49-F238E27FC236}">
                <a16:creationId xmlns:a16="http://schemas.microsoft.com/office/drawing/2014/main" id="{0A444BC5-E5A4-412F-AFE3-43036793F801}"/>
              </a:ext>
            </a:extLst>
          </p:cNvPr>
          <p:cNvSpPr>
            <a:spLocks noGrp="1"/>
          </p:cNvSpPr>
          <p:nvPr>
            <p:ph type="sldNum" sz="quarter" idx="4"/>
          </p:nvPr>
        </p:nvSpPr>
        <p:spPr/>
        <p:txBody>
          <a:bodyPr/>
          <a:lstStyle/>
          <a:p>
            <a:fld id="{623B5F94-9D18-4CD7-A9B2-82F39252AEEB}" type="slidenum">
              <a:rPr lang="en-US" smtClean="0"/>
              <a:pPr/>
              <a:t>3</a:t>
            </a:fld>
            <a:endParaRPr lang="en-US"/>
          </a:p>
        </p:txBody>
      </p:sp>
      <p:sp>
        <p:nvSpPr>
          <p:cNvPr id="8" name="TextBox 7">
            <a:extLst>
              <a:ext uri="{FF2B5EF4-FFF2-40B4-BE49-F238E27FC236}">
                <a16:creationId xmlns:a16="http://schemas.microsoft.com/office/drawing/2014/main" id="{B4306CB6-AC48-1546-B565-FD067D80C14C}"/>
              </a:ext>
            </a:extLst>
          </p:cNvPr>
          <p:cNvSpPr txBox="1"/>
          <p:nvPr/>
        </p:nvSpPr>
        <p:spPr>
          <a:xfrm>
            <a:off x="7915231" y="1449301"/>
            <a:ext cx="3991871" cy="1600438"/>
          </a:xfrm>
          <a:prstGeom prst="rect">
            <a:avLst/>
          </a:prstGeom>
          <a:noFill/>
        </p:spPr>
        <p:txBody>
          <a:bodyPr wrap="square" rtlCol="0" anchor="t">
            <a:spAutoFit/>
          </a:bodyPr>
          <a:lstStyle/>
          <a:p>
            <a:pPr marL="285750" indent="-285750">
              <a:buFont typeface="Arial" panose="020B0604020202020204" pitchFamily="34" charset="0"/>
              <a:buChar char="•"/>
            </a:pPr>
            <a:r>
              <a:rPr lang="en-US" sz="1400"/>
              <a:t>Weekday bus ridership was down 1 percent during the week of August 3 from the previous week, while weekend ridership up 2 percent.</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Weekday bus ridership is now at nearly half of pre-pandemic levels.</a:t>
            </a:r>
          </a:p>
        </p:txBody>
      </p:sp>
      <p:sp>
        <p:nvSpPr>
          <p:cNvPr id="5" name="Rectangle 4">
            <a:extLst>
              <a:ext uri="{FF2B5EF4-FFF2-40B4-BE49-F238E27FC236}">
                <a16:creationId xmlns:a16="http://schemas.microsoft.com/office/drawing/2014/main" id="{96C384E0-20DE-4763-A9A3-2599802CC195}"/>
              </a:ext>
            </a:extLst>
          </p:cNvPr>
          <p:cNvSpPr/>
          <p:nvPr/>
        </p:nvSpPr>
        <p:spPr>
          <a:xfrm>
            <a:off x="740610" y="6238857"/>
            <a:ext cx="11283224" cy="600164"/>
          </a:xfrm>
          <a:prstGeom prst="rect">
            <a:avLst/>
          </a:prstGeom>
        </p:spPr>
        <p:txBody>
          <a:bodyPr wrap="square">
            <a:spAutoFit/>
          </a:bodyPr>
          <a:lstStyle/>
          <a:p>
            <a:r>
              <a:rPr lang="en-US" sz="1100">
                <a:solidFill>
                  <a:srgbClr val="4A4A4A"/>
                </a:solidFill>
                <a:latin typeface="Helvetica" panose="020B0604020202020204" pitchFamily="34" charset="0"/>
              </a:rPr>
              <a:t>*From the MTA: Current bus ridership figures are estimated from models that use MetroCard and OMNY swipes and taps and Automatic Passenger Counter data that is available on a portion of our bus fleet. These figures are indicative of ridership but not a precise count. Figures from recent days may be revised as reconciliation processes are carried out. </a:t>
            </a:r>
            <a:r>
              <a:rPr lang="en-US" sz="1100">
                <a:cs typeface="Arial"/>
              </a:rPr>
              <a:t>Data sources: MTA (</a:t>
            </a:r>
            <a:r>
              <a:rPr lang="en-US" sz="1100">
                <a:hlinkClick r:id="rId4"/>
              </a:rPr>
              <a:t>https://new.mta.info/coronavirus/ridership</a:t>
            </a:r>
            <a:r>
              <a:rPr lang="en-US" sz="1100">
                <a:cs typeface="Arial"/>
              </a:rPr>
              <a:t>) </a:t>
            </a:r>
          </a:p>
        </p:txBody>
      </p:sp>
    </p:spTree>
    <p:extLst>
      <p:ext uri="{BB962C8B-B14F-4D97-AF65-F5344CB8AC3E}">
        <p14:creationId xmlns:p14="http://schemas.microsoft.com/office/powerpoint/2010/main" val="1049441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30C46C0-8CB5-4A29-B468-2B2F9869DAB6}"/>
              </a:ext>
            </a:extLst>
          </p:cNvPr>
          <p:cNvPicPr>
            <a:picLocks noChangeAspect="1"/>
          </p:cNvPicPr>
          <p:nvPr/>
        </p:nvPicPr>
        <p:blipFill>
          <a:blip r:embed="rId3"/>
          <a:stretch>
            <a:fillRect/>
          </a:stretch>
        </p:blipFill>
        <p:spPr>
          <a:xfrm>
            <a:off x="7437815" y="560306"/>
            <a:ext cx="4680757" cy="5992273"/>
          </a:xfrm>
          <a:prstGeom prst="rect">
            <a:avLst/>
          </a:prstGeom>
        </p:spPr>
      </p:pic>
      <p:pic>
        <p:nvPicPr>
          <p:cNvPr id="6" name="Picture 5">
            <a:extLst>
              <a:ext uri="{FF2B5EF4-FFF2-40B4-BE49-F238E27FC236}">
                <a16:creationId xmlns:a16="http://schemas.microsoft.com/office/drawing/2014/main" id="{8B7FD23C-3404-4273-BC70-33AEA90CDFA0}"/>
              </a:ext>
            </a:extLst>
          </p:cNvPr>
          <p:cNvPicPr>
            <a:picLocks noChangeAspect="1"/>
          </p:cNvPicPr>
          <p:nvPr/>
        </p:nvPicPr>
        <p:blipFill>
          <a:blip r:embed="rId4"/>
          <a:stretch>
            <a:fillRect/>
          </a:stretch>
        </p:blipFill>
        <p:spPr>
          <a:xfrm>
            <a:off x="2625644" y="547262"/>
            <a:ext cx="4688611" cy="6002033"/>
          </a:xfrm>
          <a:prstGeom prst="rect">
            <a:avLst/>
          </a:prstGeom>
        </p:spPr>
      </p:pic>
      <p:sp>
        <p:nvSpPr>
          <p:cNvPr id="2" name="Title 1">
            <a:extLst>
              <a:ext uri="{FF2B5EF4-FFF2-40B4-BE49-F238E27FC236}">
                <a16:creationId xmlns:a16="http://schemas.microsoft.com/office/drawing/2014/main" id="{34067B45-0477-41C4-847B-3BFADB14672F}"/>
              </a:ext>
            </a:extLst>
          </p:cNvPr>
          <p:cNvSpPr>
            <a:spLocks noGrp="1"/>
          </p:cNvSpPr>
          <p:nvPr>
            <p:ph type="ctrTitle"/>
          </p:nvPr>
        </p:nvSpPr>
        <p:spPr>
          <a:xfrm>
            <a:off x="0" y="2"/>
            <a:ext cx="10972800" cy="551263"/>
          </a:xfrm>
        </p:spPr>
        <p:txBody>
          <a:bodyPr>
            <a:normAutofit/>
          </a:bodyPr>
          <a:lstStyle/>
          <a:p>
            <a:r>
              <a:rPr lang="en-US">
                <a:latin typeface="Arial"/>
                <a:cs typeface="Arial"/>
              </a:rPr>
              <a:t>Weekday AM and PM Peak Turnstile Data – Comparisons with July 2019</a:t>
            </a:r>
          </a:p>
        </p:txBody>
      </p:sp>
      <p:sp>
        <p:nvSpPr>
          <p:cNvPr id="4" name="Slide Number Placeholder 3">
            <a:extLst>
              <a:ext uri="{FF2B5EF4-FFF2-40B4-BE49-F238E27FC236}">
                <a16:creationId xmlns:a16="http://schemas.microsoft.com/office/drawing/2014/main" id="{6E93049A-A9B4-486C-9E7A-B067C0C089C7}"/>
              </a:ext>
            </a:extLst>
          </p:cNvPr>
          <p:cNvSpPr>
            <a:spLocks noGrp="1"/>
          </p:cNvSpPr>
          <p:nvPr>
            <p:ph type="sldNum" sz="quarter" idx="4"/>
          </p:nvPr>
        </p:nvSpPr>
        <p:spPr/>
        <p:txBody>
          <a:bodyPr/>
          <a:lstStyle/>
          <a:p>
            <a:fld id="{623B5F94-9D18-4CD7-A9B2-82F39252AEEB}" type="slidenum">
              <a:rPr lang="en-US" smtClean="0"/>
              <a:pPr/>
              <a:t>4</a:t>
            </a:fld>
            <a:endParaRPr lang="en-US"/>
          </a:p>
        </p:txBody>
      </p:sp>
      <p:sp>
        <p:nvSpPr>
          <p:cNvPr id="7" name="Rectangle 6">
            <a:extLst>
              <a:ext uri="{FF2B5EF4-FFF2-40B4-BE49-F238E27FC236}">
                <a16:creationId xmlns:a16="http://schemas.microsoft.com/office/drawing/2014/main" id="{CE03F1D5-5171-1D46-9E4F-A555A77F0415}"/>
              </a:ext>
            </a:extLst>
          </p:cNvPr>
          <p:cNvSpPr/>
          <p:nvPr/>
        </p:nvSpPr>
        <p:spPr>
          <a:xfrm>
            <a:off x="864833" y="6545846"/>
            <a:ext cx="6096000" cy="261610"/>
          </a:xfrm>
          <a:prstGeom prst="rect">
            <a:avLst/>
          </a:prstGeom>
        </p:spPr>
        <p:txBody>
          <a:bodyPr>
            <a:spAutoFit/>
          </a:bodyPr>
          <a:lstStyle/>
          <a:p>
            <a:r>
              <a:rPr lang="en-US" sz="1100">
                <a:cs typeface="Arial"/>
              </a:rPr>
              <a:t>Data sources: MTA Turnstile data (</a:t>
            </a:r>
            <a:r>
              <a:rPr lang="en-US" sz="1100">
                <a:hlinkClick r:id="rId5" tooltip="http://web.mta.info/developers/turnstile.html"/>
              </a:rPr>
              <a:t>http://web.mta.info/developers/turnstile.html</a:t>
            </a:r>
            <a:r>
              <a:rPr lang="en-US" sz="1100">
                <a:cs typeface="Arial"/>
              </a:rPr>
              <a:t>) </a:t>
            </a:r>
          </a:p>
        </p:txBody>
      </p:sp>
      <p:sp>
        <p:nvSpPr>
          <p:cNvPr id="20" name="TextBox 19">
            <a:extLst>
              <a:ext uri="{FF2B5EF4-FFF2-40B4-BE49-F238E27FC236}">
                <a16:creationId xmlns:a16="http://schemas.microsoft.com/office/drawing/2014/main" id="{F5A93634-EFB0-4F1D-8EB9-1AD5FF7384D9}"/>
              </a:ext>
            </a:extLst>
          </p:cNvPr>
          <p:cNvSpPr txBox="1"/>
          <p:nvPr/>
        </p:nvSpPr>
        <p:spPr>
          <a:xfrm>
            <a:off x="0" y="602232"/>
            <a:ext cx="2625643" cy="5950347"/>
          </a:xfrm>
          <a:prstGeom prst="rect">
            <a:avLst/>
          </a:prstGeom>
          <a:noFill/>
        </p:spPr>
        <p:txBody>
          <a:bodyPr wrap="square" rtlCol="0" anchor="t">
            <a:spAutoFit/>
          </a:bodyPr>
          <a:lstStyle/>
          <a:p>
            <a:pPr marL="285750" indent="-285750">
              <a:spcBef>
                <a:spcPts val="1000"/>
              </a:spcBef>
              <a:buFont typeface="Arial" panose="020B0604020202020204" pitchFamily="34" charset="0"/>
              <a:buChar char="•"/>
            </a:pPr>
            <a:r>
              <a:rPr lang="en-US" sz="1400">
                <a:cs typeface="Arial" panose="020B0604020202020204"/>
              </a:rPr>
              <a:t>The maps on the right illustrate changes in AM and PM peak ridership by neighborhood during the week of August 3 compared to the same week in 2019. </a:t>
            </a:r>
          </a:p>
          <a:p>
            <a:pPr marL="285750" indent="-285750">
              <a:spcBef>
                <a:spcPts val="1000"/>
              </a:spcBef>
              <a:buFont typeface="Arial" panose="020B0604020202020204" pitchFamily="34" charset="0"/>
              <a:buChar char="•"/>
            </a:pPr>
            <a:r>
              <a:rPr lang="en-US" sz="1400">
                <a:ea typeface="+mn-lt"/>
                <a:cs typeface="Arial" panose="020B0604020202020204"/>
              </a:rPr>
              <a:t>AM peak ridership remains more than 80% down in the much of Manhattan and in western Brooklyn and Queens over the same period in 2019.</a:t>
            </a:r>
          </a:p>
          <a:p>
            <a:pPr marL="285750" indent="-285750">
              <a:spcBef>
                <a:spcPts val="1000"/>
              </a:spcBef>
              <a:buFont typeface="Arial" panose="020B0604020202020204" pitchFamily="34" charset="0"/>
              <a:buChar char="•"/>
            </a:pPr>
            <a:r>
              <a:rPr lang="en-US" sz="1400">
                <a:ea typeface="+mn-lt"/>
                <a:cs typeface="Arial" panose="020B0604020202020204"/>
              </a:rPr>
              <a:t>PM peak ridership – an indicator of where people are commuting home from – is more than 80 percent down in the Manhattan CBD, and more than 70 percent down in the city’s other business districts, including the greater downtown Brooklyn area, Long Island City, Flushing, and Jamaica.</a:t>
            </a:r>
          </a:p>
        </p:txBody>
      </p:sp>
      <p:pic>
        <p:nvPicPr>
          <p:cNvPr id="13" name="Picture 12">
            <a:extLst>
              <a:ext uri="{FF2B5EF4-FFF2-40B4-BE49-F238E27FC236}">
                <a16:creationId xmlns:a16="http://schemas.microsoft.com/office/drawing/2014/main" id="{464CD594-D00A-43D1-8E66-094F4EBB3A9F}"/>
              </a:ext>
            </a:extLst>
          </p:cNvPr>
          <p:cNvPicPr>
            <a:picLocks noChangeAspect="1"/>
          </p:cNvPicPr>
          <p:nvPr/>
        </p:nvPicPr>
        <p:blipFill>
          <a:blip r:embed="rId6"/>
          <a:stretch>
            <a:fillRect/>
          </a:stretch>
        </p:blipFill>
        <p:spPr>
          <a:xfrm>
            <a:off x="7437815" y="832722"/>
            <a:ext cx="1988934" cy="1429711"/>
          </a:xfrm>
          <a:prstGeom prst="rect">
            <a:avLst/>
          </a:prstGeom>
        </p:spPr>
      </p:pic>
      <p:pic>
        <p:nvPicPr>
          <p:cNvPr id="14" name="Picture 13">
            <a:extLst>
              <a:ext uri="{FF2B5EF4-FFF2-40B4-BE49-F238E27FC236}">
                <a16:creationId xmlns:a16="http://schemas.microsoft.com/office/drawing/2014/main" id="{3F3CC948-BDCC-4A26-8CC3-2E784E5CABD3}"/>
              </a:ext>
            </a:extLst>
          </p:cNvPr>
          <p:cNvPicPr>
            <a:picLocks noChangeAspect="1"/>
          </p:cNvPicPr>
          <p:nvPr/>
        </p:nvPicPr>
        <p:blipFill>
          <a:blip r:embed="rId7"/>
          <a:stretch>
            <a:fillRect/>
          </a:stretch>
        </p:blipFill>
        <p:spPr>
          <a:xfrm>
            <a:off x="2625647" y="837304"/>
            <a:ext cx="1908936" cy="1425129"/>
          </a:xfrm>
          <a:prstGeom prst="rect">
            <a:avLst/>
          </a:prstGeom>
        </p:spPr>
      </p:pic>
      <p:sp>
        <p:nvSpPr>
          <p:cNvPr id="12" name="TextBox 11">
            <a:extLst>
              <a:ext uri="{FF2B5EF4-FFF2-40B4-BE49-F238E27FC236}">
                <a16:creationId xmlns:a16="http://schemas.microsoft.com/office/drawing/2014/main" id="{FD70289B-A494-40A8-B0E0-E27676B5EAA9}"/>
              </a:ext>
            </a:extLst>
          </p:cNvPr>
          <p:cNvSpPr txBox="1"/>
          <p:nvPr/>
        </p:nvSpPr>
        <p:spPr>
          <a:xfrm>
            <a:off x="2625645" y="560306"/>
            <a:ext cx="3784691" cy="276999"/>
          </a:xfrm>
          <a:prstGeom prst="rect">
            <a:avLst/>
          </a:prstGeom>
          <a:solidFill>
            <a:schemeClr val="bg1"/>
          </a:solidFill>
        </p:spPr>
        <p:txBody>
          <a:bodyPr wrap="square" rtlCol="0">
            <a:spAutoFit/>
          </a:bodyPr>
          <a:lstStyle/>
          <a:p>
            <a:r>
              <a:rPr lang="en-US" sz="1200"/>
              <a:t>8/3,8/5,8/6/2020 vs 8/5,8/7,8/8/2019 Percent Change</a:t>
            </a:r>
          </a:p>
        </p:txBody>
      </p:sp>
      <p:sp>
        <p:nvSpPr>
          <p:cNvPr id="15" name="TextBox 14">
            <a:extLst>
              <a:ext uri="{FF2B5EF4-FFF2-40B4-BE49-F238E27FC236}">
                <a16:creationId xmlns:a16="http://schemas.microsoft.com/office/drawing/2014/main" id="{E96874A4-60B6-453A-8BE6-5ABAE484BD10}"/>
              </a:ext>
            </a:extLst>
          </p:cNvPr>
          <p:cNvSpPr txBox="1"/>
          <p:nvPr/>
        </p:nvSpPr>
        <p:spPr>
          <a:xfrm>
            <a:off x="7437815" y="560306"/>
            <a:ext cx="3784691" cy="276999"/>
          </a:xfrm>
          <a:prstGeom prst="rect">
            <a:avLst/>
          </a:prstGeom>
          <a:solidFill>
            <a:schemeClr val="bg1"/>
          </a:solidFill>
        </p:spPr>
        <p:txBody>
          <a:bodyPr wrap="square" rtlCol="0">
            <a:spAutoFit/>
          </a:bodyPr>
          <a:lstStyle/>
          <a:p>
            <a:r>
              <a:rPr lang="en-US" sz="1200"/>
              <a:t>8/3,8/5,8/6/2020 vs 8/5,8/7,8/8/2019 Percent Change</a:t>
            </a:r>
          </a:p>
        </p:txBody>
      </p:sp>
    </p:spTree>
    <p:extLst>
      <p:ext uri="{BB962C8B-B14F-4D97-AF65-F5344CB8AC3E}">
        <p14:creationId xmlns:p14="http://schemas.microsoft.com/office/powerpoint/2010/main" val="333836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Verdana&quot; UsePPTTheme=&quot;True&quot; /&gt;&lt;/Font&gt;&lt;/MekkoFormats&gt;"/>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4.68763579500959700000E+000&quot;&gt;&lt;m_msothmcolidx val=&quot;0&quot;/&gt;&lt;m_rgb r=&quot;C0&quot; g=&quot;50&quot; b=&quot;46&quot;/&gt;&lt;m_nBrightness val=&quot;0&quot;/&gt;&lt;/elem&gt;&lt;elem m_fUsage=&quot;1.72900000000000010000E+000&quot;&gt;&lt;m_msothmcolidx val=&quot;0&quot;/&gt;&lt;m_rgb r=&quot;13&quot; g=&quot;52&quot; b=&quot;7B&quot;/&gt;&lt;m_nBrightness val=&quot;0&quot;/&gt;&lt;/elem&gt;&lt;elem m_fUsage=&quot;1.71000000000000000000E+000&quot;&gt;&lt;m_msothmcolidx val=&quot;0&quot;/&gt;&lt;m_rgb r=&quot;92&quot; g=&quot;D0&quot; b=&quot;50&quot;/&gt;&lt;m_nBrightness val=&quot;0&quot;/&gt;&lt;/elem&gt;&lt;elem m_fUsage=&quot;1.08249907509108990000E+000&quot;&gt;&lt;m_msothmcolidx val=&quot;0&quot;/&gt;&lt;m_rgb r=&quot;FF&quot; g=&quot;C0&quot; b=&quot;00&quot;/&gt;&lt;m_nBrightness val=&quot;0&quot;/&gt;&lt;/elem&gt;&lt;elem m_fUsage=&quot;7.74235123937265790000E-001&quot;&gt;&lt;m_msothmcolidx val=&quot;0&quot;/&gt;&lt;m_rgb r=&quot;70&quot; g=&quot;AD&quot; b=&quot;47&quot;/&gt;&lt;m_nBrightness val=&quot;0&quot;/&gt;&lt;/elem&gt;&lt;elem m_fUsage=&quot;1.04877395887621410000E-002&quot;&gt;&lt;m_msothmcolidx val=&quot;0&quot;/&gt;&lt;m_rgb r=&quot;4F&quot; g=&quot;62&quot; b=&quot;28&quot;/&gt;&lt;m_nBrightness val=&quot;0&quot;/&gt;&lt;/elem&gt;&lt;elem m_fUsage=&quot;5.52522985411592420000E-003&quot;&gt;&lt;m_msothmcolidx val=&quot;0&quot;/&gt;&lt;m_rgb r=&quot;C0&quot; g=&quot;00&quot; b=&quot;0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CP PPT Template (Letter)">
  <a:themeElements>
    <a:clrScheme name="DCP Color Palette">
      <a:dk1>
        <a:srgbClr val="000000"/>
      </a:dk1>
      <a:lt1>
        <a:sysClr val="window" lastClr="FFFFFF"/>
      </a:lt1>
      <a:dk2>
        <a:srgbClr val="EDA471"/>
      </a:dk2>
      <a:lt2>
        <a:srgbClr val="EB212F"/>
      </a:lt2>
      <a:accent1>
        <a:srgbClr val="13527B"/>
      </a:accent1>
      <a:accent2>
        <a:srgbClr val="00B0F0"/>
      </a:accent2>
      <a:accent3>
        <a:srgbClr val="92D050"/>
      </a:accent3>
      <a:accent4>
        <a:srgbClr val="FFC000"/>
      </a:accent4>
      <a:accent5>
        <a:srgbClr val="DB691B"/>
      </a:accent5>
      <a:accent6>
        <a:srgbClr val="7030A0"/>
      </a:accent6>
      <a:hlink>
        <a:srgbClr val="1B83CB"/>
      </a:hlink>
      <a:folHlink>
        <a:srgbClr val="C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defPPr>
      </a:lstStyle>
    </a:txDef>
  </a:objectDefaults>
  <a:extraClrSchemeLst/>
  <a:extLst>
    <a:ext uri="{05A4C25C-085E-4340-85A3-A5531E510DB2}">
      <thm15:themeFamily xmlns:thm15="http://schemas.microsoft.com/office/thememl/2012/main" name="dcp-slide-bank.pptx" id="{EC6E9D10-C549-4F3E-9D21-71A55EAF71C1}" vid="{C1225AA0-2D35-4A6B-B8A8-18B91262DB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718683BF15C0B438181A3514E653300" ma:contentTypeVersion="10" ma:contentTypeDescription="Create a new document." ma:contentTypeScope="" ma:versionID="e2beb0c0828d8ae5b222e3863d2b7855">
  <xsd:schema xmlns:xsd="http://www.w3.org/2001/XMLSchema" xmlns:xs="http://www.w3.org/2001/XMLSchema" xmlns:p="http://schemas.microsoft.com/office/2006/metadata/properties" xmlns:ns2="dba7100d-d0af-4b51-96b3-992afff4d7d0" xmlns:ns3="4eab1d2f-0a6f-43b5-bd47-0cc182e7f81d" targetNamespace="http://schemas.microsoft.com/office/2006/metadata/properties" ma:root="true" ma:fieldsID="ad40db731f36b59cb100e770200c15e9" ns2:_="" ns3:_="">
    <xsd:import namespace="dba7100d-d0af-4b51-96b3-992afff4d7d0"/>
    <xsd:import namespace="4eab1d2f-0a6f-43b5-bd47-0cc182e7f81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a7100d-d0af-4b51-96b3-992afff4d7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ab1d2f-0a6f-43b5-bd47-0cc182e7f81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C7BB4F-EDCB-4BEC-90BD-4B42CB1F6CC3}">
  <ds:schemaRefs>
    <ds:schemaRef ds:uri="http://schemas.microsoft.com/sharepoint/v3/contenttype/forms"/>
  </ds:schemaRefs>
</ds:datastoreItem>
</file>

<file path=customXml/itemProps2.xml><?xml version="1.0" encoding="utf-8"?>
<ds:datastoreItem xmlns:ds="http://schemas.openxmlformats.org/officeDocument/2006/customXml" ds:itemID="{952C5DA7-528F-4DBA-9CA6-35EA0D66D71A}">
  <ds:schemaRefs>
    <ds:schemaRef ds:uri="4eab1d2f-0a6f-43b5-bd47-0cc182e7f81d"/>
    <ds:schemaRef ds:uri="dba7100d-d0af-4b51-96b3-992afff4d7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7C0E58E-1C18-4B2C-BCB3-4BAA03EB88CE}">
  <ds:schemaRefs>
    <ds:schemaRef ds:uri="4eab1d2f-0a6f-43b5-bd47-0cc182e7f81d"/>
    <ds:schemaRef ds:uri="dba7100d-d0af-4b51-96b3-992afff4d7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cp-slide-bank</Template>
  <TotalTime>0</TotalTime>
  <Words>467</Words>
  <Application>Microsoft Office PowerPoint</Application>
  <PresentationFormat>Widescreen</PresentationFormat>
  <Paragraphs>38</Paragraphs>
  <Slides>4</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Helvetica</vt:lpstr>
      <vt:lpstr>DCP PPT Template (Letter)</vt:lpstr>
      <vt:lpstr>think-cell Slide</vt:lpstr>
      <vt:lpstr>COVID19 Impacts on Transportation</vt:lpstr>
      <vt:lpstr>Introduction</vt:lpstr>
      <vt:lpstr>MTA Bus System-wide Ridership Changes</vt:lpstr>
      <vt:lpstr>Weekday AM and PM Peak Turnstile Data – Comparisons with July 2019</vt:lpstr>
    </vt:vector>
  </TitlesOfParts>
  <Company>DC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p slide bank</dc:title>
  <dc:creator>Ruoran Lin (DCP)</dc:creator>
  <cp:lastModifiedBy>Ma Yijun</cp:lastModifiedBy>
  <cp:revision>5</cp:revision>
  <cp:lastPrinted>2016-07-11T19:16:06Z</cp:lastPrinted>
  <dcterms:created xsi:type="dcterms:W3CDTF">2019-11-07T16:18:04Z</dcterms:created>
  <dcterms:modified xsi:type="dcterms:W3CDTF">2020-09-10T19:1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18683BF15C0B438181A3514E653300</vt:lpwstr>
  </property>
</Properties>
</file>